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256" r:id="rId5"/>
    <p:sldId id="11610" r:id="rId6"/>
    <p:sldId id="11631" r:id="rId7"/>
    <p:sldId id="11632" r:id="rId8"/>
    <p:sldId id="11633" r:id="rId9"/>
    <p:sldId id="11615" r:id="rId10"/>
    <p:sldId id="11636" r:id="rId11"/>
    <p:sldId id="11627" r:id="rId12"/>
    <p:sldId id="11626" r:id="rId13"/>
    <p:sldId id="1163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5E6998DA-25C3-4718-BA15-7761763C1712}">
          <p14:sldIdLst>
            <p14:sldId id="256"/>
            <p14:sldId id="11610"/>
          </p14:sldIdLst>
        </p14:section>
        <p14:section name="药品基本信息" id="{201ACFF7-D174-4DC4-AAF9-02898C966F3F}">
          <p14:sldIdLst>
            <p14:sldId id="11631"/>
            <p14:sldId id="11632"/>
          </p14:sldIdLst>
        </p14:section>
        <p14:section name="安全性" id="{E0B2BC7F-6083-4DC6-81AA-7F2F5254A2C5}">
          <p14:sldIdLst>
            <p14:sldId id="11633"/>
          </p14:sldIdLst>
        </p14:section>
        <p14:section name="有效性" id="{51821E2C-F357-4F14-954D-92919BC8C5C2}">
          <p14:sldIdLst>
            <p14:sldId id="11615"/>
            <p14:sldId id="11636"/>
          </p14:sldIdLst>
        </p14:section>
        <p14:section name="创新性" id="{F7EB53D0-5C26-4C15-A178-116F1C38EA8A}">
          <p14:sldIdLst>
            <p14:sldId id="11627"/>
            <p14:sldId id="11626"/>
          </p14:sldIdLst>
        </p14:section>
        <p14:section name="公平性" id="{833C3D61-82B9-4EAF-85FE-194FB374F233}">
          <p14:sldIdLst>
            <p14:sldId id="1163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18" userDrawn="1">
          <p15:clr>
            <a:srgbClr val="A4A3A4"/>
          </p15:clr>
        </p15:guide>
        <p15:guide id="2" pos="282" userDrawn="1">
          <p15:clr>
            <a:srgbClr val="A4A3A4"/>
          </p15:clr>
        </p15:guide>
        <p15:guide id="3" pos="624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urcu Yazıcı Elmas" initials="BYE" lastIdx="10" clrIdx="0"/>
  <p:cmAuthor id="2" name="Mia Wang" initials="MW" lastIdx="6" clrIdx="1"/>
  <p:cmAuthor id="3" name="Administrator" initials="A" lastIdx="2" clrIdx="2"/>
  <p:cmAuthor id="4" name="ASUS" initials="A" lastIdx="25" clrIdx="3"/>
  <p:cmAuthor id="5" name="Summer Song" initials="SS" lastIdx="81" clrIdx="4"/>
  <p:cmAuthor id="6" name="Li" initials="Li" lastIdx="52" clrIdx="5"/>
  <p:cmAuthor id="7" name="Alex" initials="A" lastIdx="19" clrIdx="6"/>
  <p:cmAuthor id="8" name="Amjad, Sakeena (LDN-MHC)" initials="AS(" lastIdx="2" clrIdx="7"/>
  <p:cmAuthor id="9" name="Chloe Perry" initials="CP" lastIdx="23" clrIdx="8"/>
  <p:cmAuthor id="10" name="zhupan" initials="z" lastIdx="8" clrIdx="9"/>
  <p:cmAuthor id="11" name="Vane Cheng" initials="VC" lastIdx="24" clrIdx="10"/>
  <p:cmAuthor id="12" name="MGSR-009" initials="M" lastIdx="2" clrIdx="11"/>
  <p:cmAuthor id="13" name="zhangxu" initials="z" lastIdx="1" clrIdx="12"/>
  <p:cmAuthor id="14" name="Xinlin Wang" initials="XW" lastIdx="7" clrIdx="13"/>
  <p:cmAuthor id="15" name="TJL" initials="1" lastIdx="1" clrIdx="14"/>
  <p:cmAuthor id="16" name="Cynthia Chen" initials="CC" lastIdx="18" clrIdx="1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0065"/>
    <a:srgbClr val="C33F8A"/>
    <a:srgbClr val="FFFFFF"/>
    <a:srgbClr val="B01B42"/>
    <a:srgbClr val="B01B43"/>
    <a:srgbClr val="AC1E37"/>
    <a:srgbClr val="D6DCE5"/>
    <a:srgbClr val="F2F2F2"/>
    <a:srgbClr val="E6E6E6"/>
    <a:srgbClr val="FC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687847F-6822-42AA-98DA-1C7AC6CF0E7F}" v="22" dt="2023-06-01T16:24:54.9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中度样式 3 - 强调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中度样式 3 - 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E171933-4619-4E11-9A3F-F7608DF75F80}" styleName="中度样式 1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06" autoAdjust="0"/>
    <p:restoredTop sz="94660"/>
  </p:normalViewPr>
  <p:slideViewPr>
    <p:cSldViewPr snapToGrid="0">
      <p:cViewPr varScale="1">
        <p:scale>
          <a:sx n="63" d="100"/>
          <a:sy n="63" d="100"/>
        </p:scale>
        <p:origin x="1036" y="60"/>
      </p:cViewPr>
      <p:guideLst>
        <p:guide orient="horz" pos="718"/>
        <p:guide pos="282"/>
        <p:guide pos="624"/>
        <p:guide orient="horz" pos="379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oyun Li" userId="266b69f4-5bdf-41aa-8e6e-b62fde24b5f7" providerId="ADAL" clId="{3687847F-6822-42AA-98DA-1C7AC6CF0E7F}"/>
    <pc:docChg chg="undo custSel addSld delSld modSld modSection">
      <pc:chgData name="Chaoyun Li" userId="266b69f4-5bdf-41aa-8e6e-b62fde24b5f7" providerId="ADAL" clId="{3687847F-6822-42AA-98DA-1C7AC6CF0E7F}" dt="2023-06-01T16:26:39.797" v="784" actId="1076"/>
      <pc:docMkLst>
        <pc:docMk/>
      </pc:docMkLst>
      <pc:sldChg chg="modSp mod">
        <pc:chgData name="Chaoyun Li" userId="266b69f4-5bdf-41aa-8e6e-b62fde24b5f7" providerId="ADAL" clId="{3687847F-6822-42AA-98DA-1C7AC6CF0E7F}" dt="2023-06-01T16:14:06.919" v="657" actId="1076"/>
        <pc:sldMkLst>
          <pc:docMk/>
          <pc:sldMk cId="0" sldId="7662"/>
        </pc:sldMkLst>
        <pc:spChg chg="mod">
          <ac:chgData name="Chaoyun Li" userId="266b69f4-5bdf-41aa-8e6e-b62fde24b5f7" providerId="ADAL" clId="{3687847F-6822-42AA-98DA-1C7AC6CF0E7F}" dt="2023-05-29T03:55:45.324" v="102" actId="1076"/>
          <ac:spMkLst>
            <pc:docMk/>
            <pc:sldMk cId="0" sldId="7662"/>
            <ac:spMk id="3" creationId="{480A063F-361D-EC13-CDAC-E461D8ECEA9D}"/>
          </ac:spMkLst>
        </pc:spChg>
        <pc:spChg chg="mod">
          <ac:chgData name="Chaoyun Li" userId="266b69f4-5bdf-41aa-8e6e-b62fde24b5f7" providerId="ADAL" clId="{3687847F-6822-42AA-98DA-1C7AC6CF0E7F}" dt="2023-06-01T16:14:03.543" v="656" actId="2710"/>
          <ac:spMkLst>
            <pc:docMk/>
            <pc:sldMk cId="0" sldId="7662"/>
            <ac:spMk id="27" creationId="{DDECD0FC-5B71-35F1-205C-33DEEC25E304}"/>
          </ac:spMkLst>
        </pc:spChg>
        <pc:graphicFrameChg chg="mod">
          <ac:chgData name="Chaoyun Li" userId="266b69f4-5bdf-41aa-8e6e-b62fde24b5f7" providerId="ADAL" clId="{3687847F-6822-42AA-98DA-1C7AC6CF0E7F}" dt="2023-06-01T16:14:06.919" v="657" actId="1076"/>
          <ac:graphicFrameMkLst>
            <pc:docMk/>
            <pc:sldMk cId="0" sldId="7662"/>
            <ac:graphicFrameMk id="32" creationId="{FFC60A42-5C50-FE0A-1286-916DEAF47B38}"/>
          </ac:graphicFrameMkLst>
        </pc:graphicFrameChg>
      </pc:sldChg>
      <pc:sldChg chg="modSp mod">
        <pc:chgData name="Chaoyun Li" userId="266b69f4-5bdf-41aa-8e6e-b62fde24b5f7" providerId="ADAL" clId="{3687847F-6822-42AA-98DA-1C7AC6CF0E7F}" dt="2023-06-01T16:14:28.287" v="658"/>
        <pc:sldMkLst>
          <pc:docMk/>
          <pc:sldMk cId="0" sldId="10406"/>
        </pc:sldMkLst>
        <pc:spChg chg="mod">
          <ac:chgData name="Chaoyun Li" userId="266b69f4-5bdf-41aa-8e6e-b62fde24b5f7" providerId="ADAL" clId="{3687847F-6822-42AA-98DA-1C7AC6CF0E7F}" dt="2023-05-29T08:18:36.015" v="641" actId="1076"/>
          <ac:spMkLst>
            <pc:docMk/>
            <pc:sldMk cId="0" sldId="10406"/>
            <ac:spMk id="4" creationId="{B29FF10B-374E-7D9A-BB59-37A1816ED359}"/>
          </ac:spMkLst>
        </pc:spChg>
        <pc:spChg chg="mod">
          <ac:chgData name="Chaoyun Li" userId="266b69f4-5bdf-41aa-8e6e-b62fde24b5f7" providerId="ADAL" clId="{3687847F-6822-42AA-98DA-1C7AC6CF0E7F}" dt="2023-06-01T16:14:28.287" v="658"/>
          <ac:spMkLst>
            <pc:docMk/>
            <pc:sldMk cId="0" sldId="10406"/>
            <ac:spMk id="197" creationId="{886C3AFD-21B6-0D77-1FE5-FFCCD90B5467}"/>
          </ac:spMkLst>
        </pc:spChg>
        <pc:spChg chg="mod">
          <ac:chgData name="Chaoyun Li" userId="266b69f4-5bdf-41aa-8e6e-b62fde24b5f7" providerId="ADAL" clId="{3687847F-6822-42AA-98DA-1C7AC6CF0E7F}" dt="2023-05-29T03:56:51.071" v="107" actId="20577"/>
          <ac:spMkLst>
            <pc:docMk/>
            <pc:sldMk cId="0" sldId="10406"/>
            <ac:spMk id="198" creationId="{7C9CFD80-FBC0-DA26-13CC-3189BCB71BD2}"/>
          </ac:spMkLst>
        </pc:spChg>
        <pc:grpChg chg="mod">
          <ac:chgData name="Chaoyun Li" userId="266b69f4-5bdf-41aa-8e6e-b62fde24b5f7" providerId="ADAL" clId="{3687847F-6822-42AA-98DA-1C7AC6CF0E7F}" dt="2023-05-29T08:18:40.912" v="642" actId="1076"/>
          <ac:grpSpMkLst>
            <pc:docMk/>
            <pc:sldMk cId="0" sldId="10406"/>
            <ac:grpSpMk id="3" creationId="{A079ECA2-8248-062E-16DB-76DD2307CC77}"/>
          </ac:grpSpMkLst>
        </pc:grpChg>
      </pc:sldChg>
      <pc:sldChg chg="modSp del mod">
        <pc:chgData name="Chaoyun Li" userId="266b69f4-5bdf-41aa-8e6e-b62fde24b5f7" providerId="ADAL" clId="{3687847F-6822-42AA-98DA-1C7AC6CF0E7F}" dt="2023-06-01T16:20:57.306" v="721" actId="47"/>
        <pc:sldMkLst>
          <pc:docMk/>
          <pc:sldMk cId="4145914734" sldId="11612"/>
        </pc:sldMkLst>
        <pc:spChg chg="mod">
          <ac:chgData name="Chaoyun Li" userId="266b69f4-5bdf-41aa-8e6e-b62fde24b5f7" providerId="ADAL" clId="{3687847F-6822-42AA-98DA-1C7AC6CF0E7F}" dt="2023-06-01T16:14:59.708" v="659" actId="1076"/>
          <ac:spMkLst>
            <pc:docMk/>
            <pc:sldMk cId="4145914734" sldId="11612"/>
            <ac:spMk id="22" creationId="{11130A69-F83E-AA9E-E4F0-880A477E57B4}"/>
          </ac:spMkLst>
        </pc:spChg>
      </pc:sldChg>
      <pc:sldChg chg="modSp mod">
        <pc:chgData name="Chaoyun Li" userId="266b69f4-5bdf-41aa-8e6e-b62fde24b5f7" providerId="ADAL" clId="{3687847F-6822-42AA-98DA-1C7AC6CF0E7F}" dt="2023-05-29T07:25:45.204" v="454" actId="14100"/>
        <pc:sldMkLst>
          <pc:docMk/>
          <pc:sldMk cId="2103198191" sldId="11615"/>
        </pc:sldMkLst>
        <pc:spChg chg="mod">
          <ac:chgData name="Chaoyun Li" userId="266b69f4-5bdf-41aa-8e6e-b62fde24b5f7" providerId="ADAL" clId="{3687847F-6822-42AA-98DA-1C7AC6CF0E7F}" dt="2023-05-29T07:25:45.204" v="454" actId="14100"/>
          <ac:spMkLst>
            <pc:docMk/>
            <pc:sldMk cId="2103198191" sldId="11615"/>
            <ac:spMk id="39" creationId="{8A117F67-D260-579D-8F71-CAC2AF9B435B}"/>
          </ac:spMkLst>
        </pc:spChg>
        <pc:spChg chg="mod">
          <ac:chgData name="Chaoyun Li" userId="266b69f4-5bdf-41aa-8e6e-b62fde24b5f7" providerId="ADAL" clId="{3687847F-6822-42AA-98DA-1C7AC6CF0E7F}" dt="2023-05-29T07:25:06.838" v="453" actId="1076"/>
          <ac:spMkLst>
            <pc:docMk/>
            <pc:sldMk cId="2103198191" sldId="11615"/>
            <ac:spMk id="40" creationId="{ED3CEA2A-5877-3F8D-A411-0AC2E344FE7A}"/>
          </ac:spMkLst>
        </pc:spChg>
      </pc:sldChg>
      <pc:sldChg chg="delSp mod">
        <pc:chgData name="Chaoyun Li" userId="266b69f4-5bdf-41aa-8e6e-b62fde24b5f7" providerId="ADAL" clId="{3687847F-6822-42AA-98DA-1C7AC6CF0E7F}" dt="2023-05-24T14:29:54.187" v="2" actId="478"/>
        <pc:sldMkLst>
          <pc:docMk/>
          <pc:sldMk cId="569596119" sldId="11617"/>
        </pc:sldMkLst>
        <pc:spChg chg="del">
          <ac:chgData name="Chaoyun Li" userId="266b69f4-5bdf-41aa-8e6e-b62fde24b5f7" providerId="ADAL" clId="{3687847F-6822-42AA-98DA-1C7AC6CF0E7F}" dt="2023-05-24T14:29:54.187" v="2" actId="478"/>
          <ac:spMkLst>
            <pc:docMk/>
            <pc:sldMk cId="569596119" sldId="11617"/>
            <ac:spMk id="4" creationId="{CDEC4547-9D30-01B6-A078-AFCAB8C0A767}"/>
          </ac:spMkLst>
        </pc:spChg>
        <pc:spChg chg="del">
          <ac:chgData name="Chaoyun Li" userId="266b69f4-5bdf-41aa-8e6e-b62fde24b5f7" providerId="ADAL" clId="{3687847F-6822-42AA-98DA-1C7AC6CF0E7F}" dt="2023-05-24T14:29:54.187" v="2" actId="478"/>
          <ac:spMkLst>
            <pc:docMk/>
            <pc:sldMk cId="569596119" sldId="11617"/>
            <ac:spMk id="22" creationId="{B9876B61-01FF-4223-E3B2-545C4AD31773}"/>
          </ac:spMkLst>
        </pc:spChg>
        <pc:spChg chg="del">
          <ac:chgData name="Chaoyun Li" userId="266b69f4-5bdf-41aa-8e6e-b62fde24b5f7" providerId="ADAL" clId="{3687847F-6822-42AA-98DA-1C7AC6CF0E7F}" dt="2023-05-24T14:29:54.187" v="2" actId="478"/>
          <ac:spMkLst>
            <pc:docMk/>
            <pc:sldMk cId="569596119" sldId="11617"/>
            <ac:spMk id="23" creationId="{48B3ECCE-4986-F53D-85DA-CED749703EBC}"/>
          </ac:spMkLst>
        </pc:spChg>
        <pc:spChg chg="del">
          <ac:chgData name="Chaoyun Li" userId="266b69f4-5bdf-41aa-8e6e-b62fde24b5f7" providerId="ADAL" clId="{3687847F-6822-42AA-98DA-1C7AC6CF0E7F}" dt="2023-05-24T14:29:54.187" v="2" actId="478"/>
          <ac:spMkLst>
            <pc:docMk/>
            <pc:sldMk cId="569596119" sldId="11617"/>
            <ac:spMk id="24" creationId="{674D1524-5487-B060-BACE-255A89CE6966}"/>
          </ac:spMkLst>
        </pc:spChg>
        <pc:spChg chg="del">
          <ac:chgData name="Chaoyun Li" userId="266b69f4-5bdf-41aa-8e6e-b62fde24b5f7" providerId="ADAL" clId="{3687847F-6822-42AA-98DA-1C7AC6CF0E7F}" dt="2023-05-24T14:29:54.187" v="2" actId="478"/>
          <ac:spMkLst>
            <pc:docMk/>
            <pc:sldMk cId="569596119" sldId="11617"/>
            <ac:spMk id="25" creationId="{83BDA3F0-8B79-0165-DF2D-B5231B9044E2}"/>
          </ac:spMkLst>
        </pc:spChg>
        <pc:spChg chg="del">
          <ac:chgData name="Chaoyun Li" userId="266b69f4-5bdf-41aa-8e6e-b62fde24b5f7" providerId="ADAL" clId="{3687847F-6822-42AA-98DA-1C7AC6CF0E7F}" dt="2023-05-24T14:29:54.187" v="2" actId="478"/>
          <ac:spMkLst>
            <pc:docMk/>
            <pc:sldMk cId="569596119" sldId="11617"/>
            <ac:spMk id="26" creationId="{DDC8B6F9-E673-5D5A-E51A-C74931359262}"/>
          </ac:spMkLst>
        </pc:spChg>
        <pc:spChg chg="del">
          <ac:chgData name="Chaoyun Li" userId="266b69f4-5bdf-41aa-8e6e-b62fde24b5f7" providerId="ADAL" clId="{3687847F-6822-42AA-98DA-1C7AC6CF0E7F}" dt="2023-05-24T14:29:54.187" v="2" actId="478"/>
          <ac:spMkLst>
            <pc:docMk/>
            <pc:sldMk cId="569596119" sldId="11617"/>
            <ac:spMk id="27" creationId="{05DDB53E-1CDD-63DD-3B25-434BC4F156D0}"/>
          </ac:spMkLst>
        </pc:spChg>
        <pc:spChg chg="del">
          <ac:chgData name="Chaoyun Li" userId="266b69f4-5bdf-41aa-8e6e-b62fde24b5f7" providerId="ADAL" clId="{3687847F-6822-42AA-98DA-1C7AC6CF0E7F}" dt="2023-05-24T14:29:54.187" v="2" actId="478"/>
          <ac:spMkLst>
            <pc:docMk/>
            <pc:sldMk cId="569596119" sldId="11617"/>
            <ac:spMk id="29" creationId="{1FA40F0A-C849-0AA3-7EA7-E4640A2A50A8}"/>
          </ac:spMkLst>
        </pc:spChg>
        <pc:spChg chg="del">
          <ac:chgData name="Chaoyun Li" userId="266b69f4-5bdf-41aa-8e6e-b62fde24b5f7" providerId="ADAL" clId="{3687847F-6822-42AA-98DA-1C7AC6CF0E7F}" dt="2023-05-24T14:29:54.187" v="2" actId="478"/>
          <ac:spMkLst>
            <pc:docMk/>
            <pc:sldMk cId="569596119" sldId="11617"/>
            <ac:spMk id="30" creationId="{FD0F87E7-4C7E-43EE-A0B1-9768889B2308}"/>
          </ac:spMkLst>
        </pc:spChg>
        <pc:graphicFrameChg chg="del">
          <ac:chgData name="Chaoyun Li" userId="266b69f4-5bdf-41aa-8e6e-b62fde24b5f7" providerId="ADAL" clId="{3687847F-6822-42AA-98DA-1C7AC6CF0E7F}" dt="2023-05-24T14:29:54.187" v="2" actId="478"/>
          <ac:graphicFrameMkLst>
            <pc:docMk/>
            <pc:sldMk cId="569596119" sldId="11617"/>
            <ac:graphicFrameMk id="28" creationId="{F05E221A-D5AA-701B-0CD9-DA7AA1BC9F63}"/>
          </ac:graphicFrameMkLst>
        </pc:graphicFrameChg>
        <pc:graphicFrameChg chg="del">
          <ac:chgData name="Chaoyun Li" userId="266b69f4-5bdf-41aa-8e6e-b62fde24b5f7" providerId="ADAL" clId="{3687847F-6822-42AA-98DA-1C7AC6CF0E7F}" dt="2023-05-24T14:29:54.187" v="2" actId="478"/>
          <ac:graphicFrameMkLst>
            <pc:docMk/>
            <pc:sldMk cId="569596119" sldId="11617"/>
            <ac:graphicFrameMk id="37" creationId="{FBA91EDC-C137-085C-05F9-641A758FCF8B}"/>
          </ac:graphicFrameMkLst>
        </pc:graphicFrameChg>
        <pc:graphicFrameChg chg="del">
          <ac:chgData name="Chaoyun Li" userId="266b69f4-5bdf-41aa-8e6e-b62fde24b5f7" providerId="ADAL" clId="{3687847F-6822-42AA-98DA-1C7AC6CF0E7F}" dt="2023-05-24T14:29:54.187" v="2" actId="478"/>
          <ac:graphicFrameMkLst>
            <pc:docMk/>
            <pc:sldMk cId="569596119" sldId="11617"/>
            <ac:graphicFrameMk id="39" creationId="{3197CD27-134C-0DBC-22D9-A77ECDB302B1}"/>
          </ac:graphicFrameMkLst>
        </pc:graphicFrameChg>
      </pc:sldChg>
      <pc:sldChg chg="delSp mod">
        <pc:chgData name="Chaoyun Li" userId="266b69f4-5bdf-41aa-8e6e-b62fde24b5f7" providerId="ADAL" clId="{3687847F-6822-42AA-98DA-1C7AC6CF0E7F}" dt="2023-05-24T14:29:50.686" v="1" actId="478"/>
        <pc:sldMkLst>
          <pc:docMk/>
          <pc:sldMk cId="542159747" sldId="11620"/>
        </pc:sldMkLst>
        <pc:spChg chg="del">
          <ac:chgData name="Chaoyun Li" userId="266b69f4-5bdf-41aa-8e6e-b62fde24b5f7" providerId="ADAL" clId="{3687847F-6822-42AA-98DA-1C7AC6CF0E7F}" dt="2023-05-24T14:29:48.017" v="0" actId="478"/>
          <ac:spMkLst>
            <pc:docMk/>
            <pc:sldMk cId="542159747" sldId="11620"/>
            <ac:spMk id="4" creationId="{F04B765F-AFFD-E575-040D-E155911AFD13}"/>
          </ac:spMkLst>
        </pc:spChg>
        <pc:spChg chg="del">
          <ac:chgData name="Chaoyun Li" userId="266b69f4-5bdf-41aa-8e6e-b62fde24b5f7" providerId="ADAL" clId="{3687847F-6822-42AA-98DA-1C7AC6CF0E7F}" dt="2023-05-24T14:29:48.017" v="0" actId="478"/>
          <ac:spMkLst>
            <pc:docMk/>
            <pc:sldMk cId="542159747" sldId="11620"/>
            <ac:spMk id="5" creationId="{9674F6EA-E41E-8908-C573-21126ED70CB1}"/>
          </ac:spMkLst>
        </pc:spChg>
        <pc:spChg chg="del">
          <ac:chgData name="Chaoyun Li" userId="266b69f4-5bdf-41aa-8e6e-b62fde24b5f7" providerId="ADAL" clId="{3687847F-6822-42AA-98DA-1C7AC6CF0E7F}" dt="2023-05-24T14:29:50.686" v="1" actId="478"/>
          <ac:spMkLst>
            <pc:docMk/>
            <pc:sldMk cId="542159747" sldId="11620"/>
            <ac:spMk id="28" creationId="{CC1043F3-6A27-A7E1-9BC3-3839A7E67B34}"/>
          </ac:spMkLst>
        </pc:spChg>
        <pc:graphicFrameChg chg="del">
          <ac:chgData name="Chaoyun Li" userId="266b69f4-5bdf-41aa-8e6e-b62fde24b5f7" providerId="ADAL" clId="{3687847F-6822-42AA-98DA-1C7AC6CF0E7F}" dt="2023-05-24T14:29:48.017" v="0" actId="478"/>
          <ac:graphicFrameMkLst>
            <pc:docMk/>
            <pc:sldMk cId="542159747" sldId="11620"/>
            <ac:graphicFrameMk id="3" creationId="{560DD741-B975-2D7E-DF55-089FDD9FFF96}"/>
          </ac:graphicFrameMkLst>
        </pc:graphicFrameChg>
      </pc:sldChg>
      <pc:sldChg chg="modSp mod">
        <pc:chgData name="Chaoyun Li" userId="266b69f4-5bdf-41aa-8e6e-b62fde24b5f7" providerId="ADAL" clId="{3687847F-6822-42AA-98DA-1C7AC6CF0E7F}" dt="2023-05-29T08:24:06.463" v="645" actId="20577"/>
        <pc:sldMkLst>
          <pc:docMk/>
          <pc:sldMk cId="1157046527" sldId="11621"/>
        </pc:sldMkLst>
        <pc:spChg chg="mod">
          <ac:chgData name="Chaoyun Li" userId="266b69f4-5bdf-41aa-8e6e-b62fde24b5f7" providerId="ADAL" clId="{3687847F-6822-42AA-98DA-1C7AC6CF0E7F}" dt="2023-05-29T08:24:06.463" v="645" actId="20577"/>
          <ac:spMkLst>
            <pc:docMk/>
            <pc:sldMk cId="1157046527" sldId="11621"/>
            <ac:spMk id="40" creationId="{841E2188-6EDA-46E0-F0FD-4113ABC4C37D}"/>
          </ac:spMkLst>
        </pc:spChg>
        <pc:spChg chg="mod">
          <ac:chgData name="Chaoyun Li" userId="266b69f4-5bdf-41aa-8e6e-b62fde24b5f7" providerId="ADAL" clId="{3687847F-6822-42AA-98DA-1C7AC6CF0E7F}" dt="2023-05-29T08:24:01.667" v="644" actId="20577"/>
          <ac:spMkLst>
            <pc:docMk/>
            <pc:sldMk cId="1157046527" sldId="11621"/>
            <ac:spMk id="99" creationId="{C6EA38A9-27C1-54D4-CBDA-45831B084227}"/>
          </ac:spMkLst>
        </pc:spChg>
      </pc:sldChg>
      <pc:sldChg chg="modSp mod">
        <pc:chgData name="Chaoyun Li" userId="266b69f4-5bdf-41aa-8e6e-b62fde24b5f7" providerId="ADAL" clId="{3687847F-6822-42AA-98DA-1C7AC6CF0E7F}" dt="2023-06-01T16:26:39.797" v="784" actId="1076"/>
        <pc:sldMkLst>
          <pc:docMk/>
          <pc:sldMk cId="3286938529" sldId="11622"/>
        </pc:sldMkLst>
        <pc:graphicFrameChg chg="mod modGraphic">
          <ac:chgData name="Chaoyun Li" userId="266b69f4-5bdf-41aa-8e6e-b62fde24b5f7" providerId="ADAL" clId="{3687847F-6822-42AA-98DA-1C7AC6CF0E7F}" dt="2023-06-01T16:26:39.797" v="784" actId="1076"/>
          <ac:graphicFrameMkLst>
            <pc:docMk/>
            <pc:sldMk cId="3286938529" sldId="11622"/>
            <ac:graphicFrameMk id="4" creationId="{029602BA-313A-A5E5-B7BD-693EF4D30CB7}"/>
          </ac:graphicFrameMkLst>
        </pc:graphicFrameChg>
      </pc:sldChg>
      <pc:sldChg chg="addSp modSp del mod">
        <pc:chgData name="Chaoyun Li" userId="266b69f4-5bdf-41aa-8e6e-b62fde24b5f7" providerId="ADAL" clId="{3687847F-6822-42AA-98DA-1C7AC6CF0E7F}" dt="2023-06-01T16:26:13.300" v="781" actId="47"/>
        <pc:sldMkLst>
          <pc:docMk/>
          <pc:sldMk cId="1455486293" sldId="11623"/>
        </pc:sldMkLst>
        <pc:spChg chg="add mod">
          <ac:chgData name="Chaoyun Li" userId="266b69f4-5bdf-41aa-8e6e-b62fde24b5f7" providerId="ADAL" clId="{3687847F-6822-42AA-98DA-1C7AC6CF0E7F}" dt="2023-05-29T04:01:11.403" v="127" actId="1076"/>
          <ac:spMkLst>
            <pc:docMk/>
            <pc:sldMk cId="1455486293" sldId="11623"/>
            <ac:spMk id="3" creationId="{62F58FCF-4F82-3B49-9817-871C58834489}"/>
          </ac:spMkLst>
        </pc:spChg>
        <pc:spChg chg="mod">
          <ac:chgData name="Chaoyun Li" userId="266b69f4-5bdf-41aa-8e6e-b62fde24b5f7" providerId="ADAL" clId="{3687847F-6822-42AA-98DA-1C7AC6CF0E7F}" dt="2023-05-29T08:24:40.422" v="647" actId="1076"/>
          <ac:spMkLst>
            <pc:docMk/>
            <pc:sldMk cId="1455486293" sldId="11623"/>
            <ac:spMk id="28" creationId="{36A78BA8-BB6E-8B96-9644-0A7C3BFBB9B8}"/>
          </ac:spMkLst>
        </pc:spChg>
        <pc:spChg chg="mod">
          <ac:chgData name="Chaoyun Li" userId="266b69f4-5bdf-41aa-8e6e-b62fde24b5f7" providerId="ADAL" clId="{3687847F-6822-42AA-98DA-1C7AC6CF0E7F}" dt="2023-05-29T07:33:17.347" v="460"/>
          <ac:spMkLst>
            <pc:docMk/>
            <pc:sldMk cId="1455486293" sldId="11623"/>
            <ac:spMk id="101" creationId="{1E3D5941-00CD-0878-D75F-648E75150323}"/>
          </ac:spMkLst>
        </pc:spChg>
        <pc:graphicFrameChg chg="mod modGraphic">
          <ac:chgData name="Chaoyun Li" userId="266b69f4-5bdf-41aa-8e6e-b62fde24b5f7" providerId="ADAL" clId="{3687847F-6822-42AA-98DA-1C7AC6CF0E7F}" dt="2023-05-29T08:24:53.612" v="649" actId="20577"/>
          <ac:graphicFrameMkLst>
            <pc:docMk/>
            <pc:sldMk cId="1455486293" sldId="11623"/>
            <ac:graphicFrameMk id="103" creationId="{7CE70DAE-6CFC-877D-E52E-ACC240A3E852}"/>
          </ac:graphicFrameMkLst>
        </pc:graphicFrameChg>
        <pc:graphicFrameChg chg="mod modGraphic">
          <ac:chgData name="Chaoyun Li" userId="266b69f4-5bdf-41aa-8e6e-b62fde24b5f7" providerId="ADAL" clId="{3687847F-6822-42AA-98DA-1C7AC6CF0E7F}" dt="2023-05-29T08:25:07.773" v="652" actId="20577"/>
          <ac:graphicFrameMkLst>
            <pc:docMk/>
            <pc:sldMk cId="1455486293" sldId="11623"/>
            <ac:graphicFrameMk id="104" creationId="{522DDD5D-BA4D-78BF-64F5-504A169DB7EE}"/>
          </ac:graphicFrameMkLst>
        </pc:graphicFrameChg>
      </pc:sldChg>
      <pc:sldChg chg="addSp delSp modSp del mod">
        <pc:chgData name="Chaoyun Li" userId="266b69f4-5bdf-41aa-8e6e-b62fde24b5f7" providerId="ADAL" clId="{3687847F-6822-42AA-98DA-1C7AC6CF0E7F}" dt="2023-06-01T16:22:23.094" v="729" actId="47"/>
        <pc:sldMkLst>
          <pc:docMk/>
          <pc:sldMk cId="3422552288" sldId="11624"/>
        </pc:sldMkLst>
        <pc:spChg chg="add del">
          <ac:chgData name="Chaoyun Li" userId="266b69f4-5bdf-41aa-8e6e-b62fde24b5f7" providerId="ADAL" clId="{3687847F-6822-42AA-98DA-1C7AC6CF0E7F}" dt="2023-05-29T04:08:56.327" v="154" actId="22"/>
          <ac:spMkLst>
            <pc:docMk/>
            <pc:sldMk cId="3422552288" sldId="11624"/>
            <ac:spMk id="3" creationId="{17F79AC2-D97D-C1DF-94E5-4F1C04A35920}"/>
          </ac:spMkLst>
        </pc:spChg>
        <pc:spChg chg="mod">
          <ac:chgData name="Chaoyun Li" userId="266b69f4-5bdf-41aa-8e6e-b62fde24b5f7" providerId="ADAL" clId="{3687847F-6822-42AA-98DA-1C7AC6CF0E7F}" dt="2023-05-29T07:42:41.085" v="562" actId="20577"/>
          <ac:spMkLst>
            <pc:docMk/>
            <pc:sldMk cId="3422552288" sldId="11624"/>
            <ac:spMk id="4" creationId="{FC96B9C7-E651-4BB0-01F0-55F3EE6DE2D6}"/>
          </ac:spMkLst>
        </pc:spChg>
        <pc:spChg chg="add mod">
          <ac:chgData name="Chaoyun Li" userId="266b69f4-5bdf-41aa-8e6e-b62fde24b5f7" providerId="ADAL" clId="{3687847F-6822-42AA-98DA-1C7AC6CF0E7F}" dt="2023-05-29T04:19:41.329" v="264" actId="1076"/>
          <ac:spMkLst>
            <pc:docMk/>
            <pc:sldMk cId="3422552288" sldId="11624"/>
            <ac:spMk id="6" creationId="{BD81777E-F1CF-AF02-E2A3-FB84341E37E1}"/>
          </ac:spMkLst>
        </pc:spChg>
        <pc:spChg chg="mod">
          <ac:chgData name="Chaoyun Li" userId="266b69f4-5bdf-41aa-8e6e-b62fde24b5f7" providerId="ADAL" clId="{3687847F-6822-42AA-98DA-1C7AC6CF0E7F}" dt="2023-05-29T06:00:13.893" v="273" actId="20577"/>
          <ac:spMkLst>
            <pc:docMk/>
            <pc:sldMk cId="3422552288" sldId="11624"/>
            <ac:spMk id="13" creationId="{2184A7D3-0E96-0AEE-0CF8-F8F19A4CFC4D}"/>
          </ac:spMkLst>
        </pc:spChg>
        <pc:spChg chg="add del mod">
          <ac:chgData name="Chaoyun Li" userId="266b69f4-5bdf-41aa-8e6e-b62fde24b5f7" providerId="ADAL" clId="{3687847F-6822-42AA-98DA-1C7AC6CF0E7F}" dt="2023-05-29T04:19:14.446" v="260" actId="22"/>
          <ac:spMkLst>
            <pc:docMk/>
            <pc:sldMk cId="3422552288" sldId="11624"/>
            <ac:spMk id="31" creationId="{A53D8367-6041-29A1-7A45-63C97346401F}"/>
          </ac:spMkLst>
        </pc:spChg>
      </pc:sldChg>
      <pc:sldChg chg="addSp delSp modSp new mod">
        <pc:chgData name="Chaoyun Li" userId="266b69f4-5bdf-41aa-8e6e-b62fde24b5f7" providerId="ADAL" clId="{3687847F-6822-42AA-98DA-1C7AC6CF0E7F}" dt="2023-06-01T16:20:14.731" v="720" actId="404"/>
        <pc:sldMkLst>
          <pc:docMk/>
          <pc:sldMk cId="16411591" sldId="11625"/>
        </pc:sldMkLst>
        <pc:spChg chg="del">
          <ac:chgData name="Chaoyun Li" userId="266b69f4-5bdf-41aa-8e6e-b62fde24b5f7" providerId="ADAL" clId="{3687847F-6822-42AA-98DA-1C7AC6CF0E7F}" dt="2023-06-01T16:18:52.367" v="710" actId="478"/>
          <ac:spMkLst>
            <pc:docMk/>
            <pc:sldMk cId="16411591" sldId="11625"/>
            <ac:spMk id="2" creationId="{B13C2FAF-11AC-07E8-AF96-7DA765750859}"/>
          </ac:spMkLst>
        </pc:spChg>
        <pc:spChg chg="add del mod">
          <ac:chgData name="Chaoyun Li" userId="266b69f4-5bdf-41aa-8e6e-b62fde24b5f7" providerId="ADAL" clId="{3687847F-6822-42AA-98DA-1C7AC6CF0E7F}" dt="2023-06-01T16:15:09.238" v="662"/>
          <ac:spMkLst>
            <pc:docMk/>
            <pc:sldMk cId="16411591" sldId="11625"/>
            <ac:spMk id="3" creationId="{EF5C78D7-E5D3-A7E3-8759-BCA7B6BAE20B}"/>
          </ac:spMkLst>
        </pc:spChg>
        <pc:spChg chg="add del mod">
          <ac:chgData name="Chaoyun Li" userId="266b69f4-5bdf-41aa-8e6e-b62fde24b5f7" providerId="ADAL" clId="{3687847F-6822-42AA-98DA-1C7AC6CF0E7F}" dt="2023-06-01T16:15:09.238" v="662"/>
          <ac:spMkLst>
            <pc:docMk/>
            <pc:sldMk cId="16411591" sldId="11625"/>
            <ac:spMk id="4" creationId="{72A52E52-32B9-FC6A-1811-E50CE822F326}"/>
          </ac:spMkLst>
        </pc:spChg>
        <pc:spChg chg="add del mod">
          <ac:chgData name="Chaoyun Li" userId="266b69f4-5bdf-41aa-8e6e-b62fde24b5f7" providerId="ADAL" clId="{3687847F-6822-42AA-98DA-1C7AC6CF0E7F}" dt="2023-06-01T16:15:09.238" v="662"/>
          <ac:spMkLst>
            <pc:docMk/>
            <pc:sldMk cId="16411591" sldId="11625"/>
            <ac:spMk id="5" creationId="{FD714E7F-CA93-0120-1B52-FF1BED0EA89C}"/>
          </ac:spMkLst>
        </pc:spChg>
        <pc:spChg chg="mod">
          <ac:chgData name="Chaoyun Li" userId="266b69f4-5bdf-41aa-8e6e-b62fde24b5f7" providerId="ADAL" clId="{3687847F-6822-42AA-98DA-1C7AC6CF0E7F}" dt="2023-06-01T16:15:11.933" v="663"/>
          <ac:spMkLst>
            <pc:docMk/>
            <pc:sldMk cId="16411591" sldId="11625"/>
            <ac:spMk id="7" creationId="{7EFB32AC-A07F-2935-FE65-0A37A5FC853F}"/>
          </ac:spMkLst>
        </pc:spChg>
        <pc:spChg chg="mod">
          <ac:chgData name="Chaoyun Li" userId="266b69f4-5bdf-41aa-8e6e-b62fde24b5f7" providerId="ADAL" clId="{3687847F-6822-42AA-98DA-1C7AC6CF0E7F}" dt="2023-06-01T16:15:11.933" v="663"/>
          <ac:spMkLst>
            <pc:docMk/>
            <pc:sldMk cId="16411591" sldId="11625"/>
            <ac:spMk id="9" creationId="{9977D14D-49D3-B4B4-9F38-25E012A3E202}"/>
          </ac:spMkLst>
        </pc:spChg>
        <pc:spChg chg="add mod">
          <ac:chgData name="Chaoyun Li" userId="266b69f4-5bdf-41aa-8e6e-b62fde24b5f7" providerId="ADAL" clId="{3687847F-6822-42AA-98DA-1C7AC6CF0E7F}" dt="2023-06-01T16:20:14.731" v="720" actId="404"/>
          <ac:spMkLst>
            <pc:docMk/>
            <pc:sldMk cId="16411591" sldId="11625"/>
            <ac:spMk id="12" creationId="{5AC7B916-F2E6-DD7D-0EC2-6C6975B87997}"/>
          </ac:spMkLst>
        </pc:spChg>
        <pc:spChg chg="add mod">
          <ac:chgData name="Chaoyun Li" userId="266b69f4-5bdf-41aa-8e6e-b62fde24b5f7" providerId="ADAL" clId="{3687847F-6822-42AA-98DA-1C7AC6CF0E7F}" dt="2023-06-01T16:15:11.933" v="663"/>
          <ac:spMkLst>
            <pc:docMk/>
            <pc:sldMk cId="16411591" sldId="11625"/>
            <ac:spMk id="13" creationId="{60B5E4A6-3085-1407-906D-35B99655CDAB}"/>
          </ac:spMkLst>
        </pc:spChg>
        <pc:spChg chg="add del mod">
          <ac:chgData name="Chaoyun Li" userId="266b69f4-5bdf-41aa-8e6e-b62fde24b5f7" providerId="ADAL" clId="{3687847F-6822-42AA-98DA-1C7AC6CF0E7F}" dt="2023-06-01T16:18:49.300" v="709" actId="478"/>
          <ac:spMkLst>
            <pc:docMk/>
            <pc:sldMk cId="16411591" sldId="11625"/>
            <ac:spMk id="14" creationId="{183DBDB8-6641-C2D3-6733-658A46F8582C}"/>
          </ac:spMkLst>
        </pc:spChg>
        <pc:spChg chg="add mod">
          <ac:chgData name="Chaoyun Li" userId="266b69f4-5bdf-41aa-8e6e-b62fde24b5f7" providerId="ADAL" clId="{3687847F-6822-42AA-98DA-1C7AC6CF0E7F}" dt="2023-06-01T16:18:52.946" v="711"/>
          <ac:spMkLst>
            <pc:docMk/>
            <pc:sldMk cId="16411591" sldId="11625"/>
            <ac:spMk id="15" creationId="{C7F357D2-2BB4-52C1-BC93-C1CDA2574CA4}"/>
          </ac:spMkLst>
        </pc:spChg>
        <pc:grpChg chg="add mod">
          <ac:chgData name="Chaoyun Li" userId="266b69f4-5bdf-41aa-8e6e-b62fde24b5f7" providerId="ADAL" clId="{3687847F-6822-42AA-98DA-1C7AC6CF0E7F}" dt="2023-06-01T16:15:11.933" v="663"/>
          <ac:grpSpMkLst>
            <pc:docMk/>
            <pc:sldMk cId="16411591" sldId="11625"/>
            <ac:grpSpMk id="6" creationId="{D4EEB48E-6171-FB2B-6EE5-6DEBBEDDA3A3}"/>
          </ac:grpSpMkLst>
        </pc:grpChg>
        <pc:grpChg chg="mod">
          <ac:chgData name="Chaoyun Li" userId="266b69f4-5bdf-41aa-8e6e-b62fde24b5f7" providerId="ADAL" clId="{3687847F-6822-42AA-98DA-1C7AC6CF0E7F}" dt="2023-06-01T16:15:11.933" v="663"/>
          <ac:grpSpMkLst>
            <pc:docMk/>
            <pc:sldMk cId="16411591" sldId="11625"/>
            <ac:grpSpMk id="8" creationId="{2BE4E4AC-B6AE-7E04-4554-B41EA69C6F35}"/>
          </ac:grpSpMkLst>
        </pc:grpChg>
        <pc:cxnChg chg="mod">
          <ac:chgData name="Chaoyun Li" userId="266b69f4-5bdf-41aa-8e6e-b62fde24b5f7" providerId="ADAL" clId="{3687847F-6822-42AA-98DA-1C7AC6CF0E7F}" dt="2023-06-01T16:15:11.933" v="663"/>
          <ac:cxnSpMkLst>
            <pc:docMk/>
            <pc:sldMk cId="16411591" sldId="11625"/>
            <ac:cxnSpMk id="10" creationId="{F65CB949-241D-7F5F-86B1-020EE60391EF}"/>
          </ac:cxnSpMkLst>
        </pc:cxnChg>
        <pc:cxnChg chg="mod">
          <ac:chgData name="Chaoyun Li" userId="266b69f4-5bdf-41aa-8e6e-b62fde24b5f7" providerId="ADAL" clId="{3687847F-6822-42AA-98DA-1C7AC6CF0E7F}" dt="2023-06-01T16:15:11.933" v="663"/>
          <ac:cxnSpMkLst>
            <pc:docMk/>
            <pc:sldMk cId="16411591" sldId="11625"/>
            <ac:cxnSpMk id="11" creationId="{AD221E28-5C59-A21E-70E1-3AE9BB9E0916}"/>
          </ac:cxnSpMkLst>
        </pc:cxnChg>
      </pc:sldChg>
      <pc:sldChg chg="addSp delSp modSp add mod">
        <pc:chgData name="Chaoyun Li" userId="266b69f4-5bdf-41aa-8e6e-b62fde24b5f7" providerId="ADAL" clId="{3687847F-6822-42AA-98DA-1C7AC6CF0E7F}" dt="2023-06-01T16:26:25.136" v="782" actId="14100"/>
        <pc:sldMkLst>
          <pc:docMk/>
          <pc:sldMk cId="2257211558" sldId="11626"/>
        </pc:sldMkLst>
        <pc:spChg chg="add del mod">
          <ac:chgData name="Chaoyun Li" userId="266b69f4-5bdf-41aa-8e6e-b62fde24b5f7" providerId="ADAL" clId="{3687847F-6822-42AA-98DA-1C7AC6CF0E7F}" dt="2023-06-01T16:22:06.390" v="727"/>
          <ac:spMkLst>
            <pc:docMk/>
            <pc:sldMk cId="2257211558" sldId="11626"/>
            <ac:spMk id="2" creationId="{B6D17F72-01C6-CFF0-7853-BFB079C48B36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3" creationId="{62F58FCF-4F82-3B49-9817-871C58834489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4" creationId="{D255BCB1-97D0-3FA5-E35B-411496084F67}"/>
          </ac:spMkLst>
        </pc:spChg>
        <pc:spChg chg="add del mod">
          <ac:chgData name="Chaoyun Li" userId="266b69f4-5bdf-41aa-8e6e-b62fde24b5f7" providerId="ADAL" clId="{3687847F-6822-42AA-98DA-1C7AC6CF0E7F}" dt="2023-06-01T16:22:06.390" v="727"/>
          <ac:spMkLst>
            <pc:docMk/>
            <pc:sldMk cId="2257211558" sldId="11626"/>
            <ac:spMk id="5" creationId="{FD0FACEB-90B8-906C-9B8A-830D65FFA326}"/>
          </ac:spMkLst>
        </pc:spChg>
        <pc:spChg chg="add del mod">
          <ac:chgData name="Chaoyun Li" userId="266b69f4-5bdf-41aa-8e6e-b62fde24b5f7" providerId="ADAL" clId="{3687847F-6822-42AA-98DA-1C7AC6CF0E7F}" dt="2023-06-01T16:22:06.390" v="727"/>
          <ac:spMkLst>
            <pc:docMk/>
            <pc:sldMk cId="2257211558" sldId="11626"/>
            <ac:spMk id="6" creationId="{15FE541E-E2D6-9F3F-0250-4E8B90E6F8A2}"/>
          </ac:spMkLst>
        </pc:spChg>
        <pc:spChg chg="mod">
          <ac:chgData name="Chaoyun Li" userId="266b69f4-5bdf-41aa-8e6e-b62fde24b5f7" providerId="ADAL" clId="{3687847F-6822-42AA-98DA-1C7AC6CF0E7F}" dt="2023-06-01T16:22:03.735" v="724"/>
          <ac:spMkLst>
            <pc:docMk/>
            <pc:sldMk cId="2257211558" sldId="11626"/>
            <ac:spMk id="8" creationId="{F959A697-2B58-503C-B147-F3BB172DC0CB}"/>
          </ac:spMkLst>
        </pc:spChg>
        <pc:spChg chg="mod">
          <ac:chgData name="Chaoyun Li" userId="266b69f4-5bdf-41aa-8e6e-b62fde24b5f7" providerId="ADAL" clId="{3687847F-6822-42AA-98DA-1C7AC6CF0E7F}" dt="2023-06-01T16:22:03.735" v="724"/>
          <ac:spMkLst>
            <pc:docMk/>
            <pc:sldMk cId="2257211558" sldId="11626"/>
            <ac:spMk id="10" creationId="{43FB029F-12CE-5533-35EE-471D77D71407}"/>
          </ac:spMkLst>
        </pc:spChg>
        <pc:spChg chg="add del mod">
          <ac:chgData name="Chaoyun Li" userId="266b69f4-5bdf-41aa-8e6e-b62fde24b5f7" providerId="ADAL" clId="{3687847F-6822-42AA-98DA-1C7AC6CF0E7F}" dt="2023-06-01T16:22:06.390" v="727"/>
          <ac:spMkLst>
            <pc:docMk/>
            <pc:sldMk cId="2257211558" sldId="11626"/>
            <ac:spMk id="19" creationId="{EC25ADFC-E543-ED68-8BD1-B33E9BD6A8DC}"/>
          </ac:spMkLst>
        </pc:spChg>
        <pc:spChg chg="add del mod">
          <ac:chgData name="Chaoyun Li" userId="266b69f4-5bdf-41aa-8e6e-b62fde24b5f7" providerId="ADAL" clId="{3687847F-6822-42AA-98DA-1C7AC6CF0E7F}" dt="2023-06-01T16:22:06.390" v="727"/>
          <ac:spMkLst>
            <pc:docMk/>
            <pc:sldMk cId="2257211558" sldId="11626"/>
            <ac:spMk id="20" creationId="{C55E1579-8853-ACB4-0D4B-38BC5B906E9F}"/>
          </ac:spMkLst>
        </pc:spChg>
        <pc:spChg chg="add del mod">
          <ac:chgData name="Chaoyun Li" userId="266b69f4-5bdf-41aa-8e6e-b62fde24b5f7" providerId="ADAL" clId="{3687847F-6822-42AA-98DA-1C7AC6CF0E7F}" dt="2023-06-01T16:22:06.390" v="727"/>
          <ac:spMkLst>
            <pc:docMk/>
            <pc:sldMk cId="2257211558" sldId="11626"/>
            <ac:spMk id="21" creationId="{A5314392-6FC8-05D9-8733-56E2C3626BC5}"/>
          </ac:spMkLst>
        </pc:spChg>
        <pc:spChg chg="add del mod">
          <ac:chgData name="Chaoyun Li" userId="266b69f4-5bdf-41aa-8e6e-b62fde24b5f7" providerId="ADAL" clId="{3687847F-6822-42AA-98DA-1C7AC6CF0E7F}" dt="2023-06-01T16:22:06.390" v="727"/>
          <ac:spMkLst>
            <pc:docMk/>
            <pc:sldMk cId="2257211558" sldId="11626"/>
            <ac:spMk id="22" creationId="{9B63CFBF-E741-11FF-93DC-15462BEFA4DC}"/>
          </ac:spMkLst>
        </pc:spChg>
        <pc:spChg chg="add del mod">
          <ac:chgData name="Chaoyun Li" userId="266b69f4-5bdf-41aa-8e6e-b62fde24b5f7" providerId="ADAL" clId="{3687847F-6822-42AA-98DA-1C7AC6CF0E7F}" dt="2023-06-01T16:22:06.390" v="727"/>
          <ac:spMkLst>
            <pc:docMk/>
            <pc:sldMk cId="2257211558" sldId="11626"/>
            <ac:spMk id="23" creationId="{62427338-4177-2947-6F61-E4F261387F45}"/>
          </ac:spMkLst>
        </pc:spChg>
        <pc:spChg chg="add del mod">
          <ac:chgData name="Chaoyun Li" userId="266b69f4-5bdf-41aa-8e6e-b62fde24b5f7" providerId="ADAL" clId="{3687847F-6822-42AA-98DA-1C7AC6CF0E7F}" dt="2023-06-01T16:22:06.390" v="727"/>
          <ac:spMkLst>
            <pc:docMk/>
            <pc:sldMk cId="2257211558" sldId="11626"/>
            <ac:spMk id="24" creationId="{0C8EE4ED-1245-1479-CE01-CD1726AD5453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28" creationId="{36A78BA8-BB6E-8B96-9644-0A7C3BFBB9B8}"/>
          </ac:spMkLst>
        </pc:spChg>
        <pc:spChg chg="mod">
          <ac:chgData name="Chaoyun Li" userId="266b69f4-5bdf-41aa-8e6e-b62fde24b5f7" providerId="ADAL" clId="{3687847F-6822-42AA-98DA-1C7AC6CF0E7F}" dt="2023-06-01T16:22:03.735" v="724"/>
          <ac:spMkLst>
            <pc:docMk/>
            <pc:sldMk cId="2257211558" sldId="11626"/>
            <ac:spMk id="65" creationId="{BA524CC7-C14D-F755-EDB7-8B104A6B3E9E}"/>
          </ac:spMkLst>
        </pc:spChg>
        <pc:spChg chg="mod">
          <ac:chgData name="Chaoyun Li" userId="266b69f4-5bdf-41aa-8e6e-b62fde24b5f7" providerId="ADAL" clId="{3687847F-6822-42AA-98DA-1C7AC6CF0E7F}" dt="2023-06-01T16:22:03.735" v="724"/>
          <ac:spMkLst>
            <pc:docMk/>
            <pc:sldMk cId="2257211558" sldId="11626"/>
            <ac:spMk id="66" creationId="{8B9FB75D-9AE3-C084-9A77-0B8C45BAE9BF}"/>
          </ac:spMkLst>
        </pc:spChg>
        <pc:spChg chg="mod">
          <ac:chgData name="Chaoyun Li" userId="266b69f4-5bdf-41aa-8e6e-b62fde24b5f7" providerId="ADAL" clId="{3687847F-6822-42AA-98DA-1C7AC6CF0E7F}" dt="2023-06-01T16:22:03.735" v="724"/>
          <ac:spMkLst>
            <pc:docMk/>
            <pc:sldMk cId="2257211558" sldId="11626"/>
            <ac:spMk id="67" creationId="{09EC0F97-4A87-71F4-CEBD-4486B5D4A4A2}"/>
          </ac:spMkLst>
        </pc:spChg>
        <pc:spChg chg="mod">
          <ac:chgData name="Chaoyun Li" userId="266b69f4-5bdf-41aa-8e6e-b62fde24b5f7" providerId="ADAL" clId="{3687847F-6822-42AA-98DA-1C7AC6CF0E7F}" dt="2023-06-01T16:22:03.735" v="724"/>
          <ac:spMkLst>
            <pc:docMk/>
            <pc:sldMk cId="2257211558" sldId="11626"/>
            <ac:spMk id="68" creationId="{8D7991CB-1A62-49E5-0C63-2B775041B708}"/>
          </ac:spMkLst>
        </pc:spChg>
        <pc:spChg chg="mod">
          <ac:chgData name="Chaoyun Li" userId="266b69f4-5bdf-41aa-8e6e-b62fde24b5f7" providerId="ADAL" clId="{3687847F-6822-42AA-98DA-1C7AC6CF0E7F}" dt="2023-06-01T16:22:03.735" v="724"/>
          <ac:spMkLst>
            <pc:docMk/>
            <pc:sldMk cId="2257211558" sldId="11626"/>
            <ac:spMk id="69" creationId="{2D6A15F1-B2D0-AE57-86EA-D9A8B9452D9F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70" creationId="{231948F0-DDA5-5070-58E7-1B81F0C27AA5}"/>
          </ac:spMkLst>
        </pc:spChg>
        <pc:spChg chg="mod">
          <ac:chgData name="Chaoyun Li" userId="266b69f4-5bdf-41aa-8e6e-b62fde24b5f7" providerId="ADAL" clId="{3687847F-6822-42AA-98DA-1C7AC6CF0E7F}" dt="2023-06-01T16:22:03.735" v="724"/>
          <ac:spMkLst>
            <pc:docMk/>
            <pc:sldMk cId="2257211558" sldId="11626"/>
            <ac:spMk id="71" creationId="{63A96CAB-21D6-0514-1DB2-EEEAFE537466}"/>
          </ac:spMkLst>
        </pc:spChg>
        <pc:spChg chg="mod">
          <ac:chgData name="Chaoyun Li" userId="266b69f4-5bdf-41aa-8e6e-b62fde24b5f7" providerId="ADAL" clId="{3687847F-6822-42AA-98DA-1C7AC6CF0E7F}" dt="2023-06-01T16:22:03.735" v="724"/>
          <ac:spMkLst>
            <pc:docMk/>
            <pc:sldMk cId="2257211558" sldId="11626"/>
            <ac:spMk id="75" creationId="{72B0972E-1986-699B-CBF1-7399F16792BA}"/>
          </ac:spMkLst>
        </pc:spChg>
        <pc:spChg chg="add del mod">
          <ac:chgData name="Chaoyun Li" userId="266b69f4-5bdf-41aa-8e6e-b62fde24b5f7" providerId="ADAL" clId="{3687847F-6822-42AA-98DA-1C7AC6CF0E7F}" dt="2023-06-01T16:22:06.390" v="727"/>
          <ac:spMkLst>
            <pc:docMk/>
            <pc:sldMk cId="2257211558" sldId="11626"/>
            <ac:spMk id="76" creationId="{F6E6876B-3E7F-28A3-4B90-A21A60C4472A}"/>
          </ac:spMkLst>
        </pc:spChg>
        <pc:spChg chg="add del mod">
          <ac:chgData name="Chaoyun Li" userId="266b69f4-5bdf-41aa-8e6e-b62fde24b5f7" providerId="ADAL" clId="{3687847F-6822-42AA-98DA-1C7AC6CF0E7F}" dt="2023-06-01T16:22:06.390" v="727"/>
          <ac:spMkLst>
            <pc:docMk/>
            <pc:sldMk cId="2257211558" sldId="11626"/>
            <ac:spMk id="77" creationId="{3AE9764D-FAB9-0D02-B70A-78384C03D1B2}"/>
          </ac:spMkLst>
        </pc:spChg>
        <pc:spChg chg="add mod">
          <ac:chgData name="Chaoyun Li" userId="266b69f4-5bdf-41aa-8e6e-b62fde24b5f7" providerId="ADAL" clId="{3687847F-6822-42AA-98DA-1C7AC6CF0E7F}" dt="2023-06-01T16:26:25.136" v="782" actId="14100"/>
          <ac:spMkLst>
            <pc:docMk/>
            <pc:sldMk cId="2257211558" sldId="11626"/>
            <ac:spMk id="78" creationId="{1C30F3BA-32EF-0B8F-788A-E4923BE404D1}"/>
          </ac:spMkLst>
        </pc:spChg>
        <pc:spChg chg="add 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79" creationId="{EEFB6F9E-BAE7-1960-908F-CAEC733631B6}"/>
          </ac:spMkLst>
        </pc:spChg>
        <pc:spChg chg="add 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80" creationId="{24BC3ECF-36B2-8A0D-E140-2C6B5308B6C6}"/>
          </ac:spMkLst>
        </pc:spChg>
        <pc:spChg chg="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82" creationId="{1A6F3024-D631-0A38-1F82-46E192C45E61}"/>
          </ac:spMkLst>
        </pc:spChg>
        <pc:spChg chg="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84" creationId="{CA6161F9-96F2-4125-745A-45F482EB0981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85" creationId="{3DC397D8-AB10-FE29-7EC6-A2736D90D982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86" creationId="{5C111214-DB1A-839F-810B-59B866C35A9E}"/>
          </ac:spMkLst>
        </pc:spChg>
        <pc:spChg chg="add 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96" creationId="{693969C7-9732-614B-32FC-5F3E411E5772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99" creationId="{B6E1798F-BC72-67EF-C97B-CDC95B7812AD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100" creationId="{B032BBC4-11AB-DA29-8EE0-49F3C121ACF3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101" creationId="{1E3D5941-00CD-0878-D75F-648E75150323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102" creationId="{F81DB190-17D8-6107-0BAD-6C32C54B78E9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105" creationId="{5A5BFE9A-9744-92FE-D9BE-D60F9EDC82B0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106" creationId="{B4B2BEEA-4F0F-A2B3-0A3F-9E4BF4D1C256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107" creationId="{B0C30DAD-A186-9486-6A5D-FF1D6744C598}"/>
          </ac:spMkLst>
        </pc:spChg>
        <pc:spChg chg="add 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08" creationId="{D0F1DEF0-B81F-D06F-02D8-2075D7120DF2}"/>
          </ac:spMkLst>
        </pc:spChg>
        <pc:spChg chg="del">
          <ac:chgData name="Chaoyun Li" userId="266b69f4-5bdf-41aa-8e6e-b62fde24b5f7" providerId="ADAL" clId="{3687847F-6822-42AA-98DA-1C7AC6CF0E7F}" dt="2023-06-01T16:21:54.277" v="723" actId="478"/>
          <ac:spMkLst>
            <pc:docMk/>
            <pc:sldMk cId="2257211558" sldId="11626"/>
            <ac:spMk id="111" creationId="{81A39578-6DE6-4444-8C4A-770F3AD3A0FF}"/>
          </ac:spMkLst>
        </pc:spChg>
        <pc:spChg chg="add 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12" creationId="{3FE5E2B6-E07D-4916-5006-FEC0CA1047AF}"/>
          </ac:spMkLst>
        </pc:spChg>
        <pc:spChg chg="add 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13" creationId="{00A5AE60-E156-490D-751D-E52D1274FE13}"/>
          </ac:spMkLst>
        </pc:spChg>
        <pc:spChg chg="add 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14" creationId="{D54C1261-B8FE-971B-AD58-60D8B81E94AD}"/>
          </ac:spMkLst>
        </pc:spChg>
        <pc:spChg chg="add 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15" creationId="{A3B21B04-F19C-EA2C-EC94-4406A3742771}"/>
          </ac:spMkLst>
        </pc:spChg>
        <pc:spChg chg="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27" creationId="{AE903655-6B3E-CA02-FDA3-139121357F7B}"/>
          </ac:spMkLst>
        </pc:spChg>
        <pc:spChg chg="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28" creationId="{2756D8C4-7C6D-39B2-BF2E-5437625AE1C0}"/>
          </ac:spMkLst>
        </pc:spChg>
        <pc:spChg chg="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29" creationId="{F62659D5-E964-5BF0-D30A-ABC623C45071}"/>
          </ac:spMkLst>
        </pc:spChg>
        <pc:spChg chg="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30" creationId="{F1B51811-17BB-8B0E-9099-0108143C8FCA}"/>
          </ac:spMkLst>
        </pc:spChg>
        <pc:spChg chg="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31" creationId="{7139EF83-688E-AD72-01D2-43231B10924B}"/>
          </ac:spMkLst>
        </pc:spChg>
        <pc:spChg chg="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32" creationId="{7CCF0553-8E72-7456-9D19-5BD20F0E6898}"/>
          </ac:spMkLst>
        </pc:spChg>
        <pc:spChg chg="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36" creationId="{C7675672-D444-7981-99BC-5F506D5B143B}"/>
          </ac:spMkLst>
        </pc:spChg>
        <pc:spChg chg="add 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37" creationId="{F76BEA2B-31AA-46D6-1DF4-B8863AF3A237}"/>
          </ac:spMkLst>
        </pc:spChg>
        <pc:spChg chg="add mod">
          <ac:chgData name="Chaoyun Li" userId="266b69f4-5bdf-41aa-8e6e-b62fde24b5f7" providerId="ADAL" clId="{3687847F-6822-42AA-98DA-1C7AC6CF0E7F}" dt="2023-06-01T16:22:06.494" v="728"/>
          <ac:spMkLst>
            <pc:docMk/>
            <pc:sldMk cId="2257211558" sldId="11626"/>
            <ac:spMk id="138" creationId="{00A0D55C-D9B0-217B-AEFB-408703357984}"/>
          </ac:spMkLst>
        </pc:spChg>
        <pc:grpChg chg="add del mod">
          <ac:chgData name="Chaoyun Li" userId="266b69f4-5bdf-41aa-8e6e-b62fde24b5f7" providerId="ADAL" clId="{3687847F-6822-42AA-98DA-1C7AC6CF0E7F}" dt="2023-06-01T16:22:06.390" v="727"/>
          <ac:grpSpMkLst>
            <pc:docMk/>
            <pc:sldMk cId="2257211558" sldId="11626"/>
            <ac:grpSpMk id="7" creationId="{3ECAF75A-88A2-0E22-4E87-F17D76B6B4A1}"/>
          </ac:grpSpMkLst>
        </pc:grpChg>
        <pc:grpChg chg="mod">
          <ac:chgData name="Chaoyun Li" userId="266b69f4-5bdf-41aa-8e6e-b62fde24b5f7" providerId="ADAL" clId="{3687847F-6822-42AA-98DA-1C7AC6CF0E7F}" dt="2023-06-01T16:22:03.735" v="724"/>
          <ac:grpSpMkLst>
            <pc:docMk/>
            <pc:sldMk cId="2257211558" sldId="11626"/>
            <ac:grpSpMk id="9" creationId="{78B0C87A-D2E8-EF58-5BC3-CF7A8B33FEB5}"/>
          </ac:grpSpMkLst>
        </pc:grpChg>
        <pc:grpChg chg="del">
          <ac:chgData name="Chaoyun Li" userId="266b69f4-5bdf-41aa-8e6e-b62fde24b5f7" providerId="ADAL" clId="{3687847F-6822-42AA-98DA-1C7AC6CF0E7F}" dt="2023-06-01T16:21:54.277" v="723" actId="478"/>
          <ac:grpSpMkLst>
            <pc:docMk/>
            <pc:sldMk cId="2257211558" sldId="11626"/>
            <ac:grpSpMk id="13" creationId="{156EA5DC-AEA6-D55D-F68E-48BDE448DFB4}"/>
          </ac:grpSpMkLst>
        </pc:grpChg>
        <pc:grpChg chg="add del mod">
          <ac:chgData name="Chaoyun Li" userId="266b69f4-5bdf-41aa-8e6e-b62fde24b5f7" providerId="ADAL" clId="{3687847F-6822-42AA-98DA-1C7AC6CF0E7F}" dt="2023-06-01T16:22:06.390" v="727"/>
          <ac:grpSpMkLst>
            <pc:docMk/>
            <pc:sldMk cId="2257211558" sldId="11626"/>
            <ac:grpSpMk id="26" creationId="{6B096681-2E06-C3F6-6DA9-F50995215362}"/>
          </ac:grpSpMkLst>
        </pc:grpChg>
        <pc:grpChg chg="mod">
          <ac:chgData name="Chaoyun Li" userId="266b69f4-5bdf-41aa-8e6e-b62fde24b5f7" providerId="ADAL" clId="{3687847F-6822-42AA-98DA-1C7AC6CF0E7F}" dt="2023-06-01T16:22:03.735" v="724"/>
          <ac:grpSpMkLst>
            <pc:docMk/>
            <pc:sldMk cId="2257211558" sldId="11626"/>
            <ac:grpSpMk id="27" creationId="{4D1040D4-436D-9F5B-B7D6-E5F3C741ACAC}"/>
          </ac:grpSpMkLst>
        </pc:grpChg>
        <pc:grpChg chg="mod">
          <ac:chgData name="Chaoyun Li" userId="266b69f4-5bdf-41aa-8e6e-b62fde24b5f7" providerId="ADAL" clId="{3687847F-6822-42AA-98DA-1C7AC6CF0E7F}" dt="2023-06-01T16:22:03.735" v="724"/>
          <ac:grpSpMkLst>
            <pc:docMk/>
            <pc:sldMk cId="2257211558" sldId="11626"/>
            <ac:grpSpMk id="29" creationId="{E805E742-20EC-7200-58F8-812380A6EC13}"/>
          </ac:grpSpMkLst>
        </pc:grpChg>
        <pc:grpChg chg="mod">
          <ac:chgData name="Chaoyun Li" userId="266b69f4-5bdf-41aa-8e6e-b62fde24b5f7" providerId="ADAL" clId="{3687847F-6822-42AA-98DA-1C7AC6CF0E7F}" dt="2023-06-01T16:22:03.735" v="724"/>
          <ac:grpSpMkLst>
            <pc:docMk/>
            <pc:sldMk cId="2257211558" sldId="11626"/>
            <ac:grpSpMk id="30" creationId="{9676F7FC-794E-E462-6BFE-10C781EBD5C2}"/>
          </ac:grpSpMkLst>
        </pc:grpChg>
        <pc:grpChg chg="mod">
          <ac:chgData name="Chaoyun Li" userId="266b69f4-5bdf-41aa-8e6e-b62fde24b5f7" providerId="ADAL" clId="{3687847F-6822-42AA-98DA-1C7AC6CF0E7F}" dt="2023-06-01T16:22:03.735" v="724"/>
          <ac:grpSpMkLst>
            <pc:docMk/>
            <pc:sldMk cId="2257211558" sldId="11626"/>
            <ac:grpSpMk id="31" creationId="{731AC916-ABBB-95C9-6A25-234E3339721E}"/>
          </ac:grpSpMkLst>
        </pc:grpChg>
        <pc:grpChg chg="mod">
          <ac:chgData name="Chaoyun Li" userId="266b69f4-5bdf-41aa-8e6e-b62fde24b5f7" providerId="ADAL" clId="{3687847F-6822-42AA-98DA-1C7AC6CF0E7F}" dt="2023-06-01T16:22:03.735" v="724"/>
          <ac:grpSpMkLst>
            <pc:docMk/>
            <pc:sldMk cId="2257211558" sldId="11626"/>
            <ac:grpSpMk id="64" creationId="{092F566E-F57D-7332-AA1D-ABEBCCADB0F7}"/>
          </ac:grpSpMkLst>
        </pc:grpChg>
        <pc:grpChg chg="add mod">
          <ac:chgData name="Chaoyun Li" userId="266b69f4-5bdf-41aa-8e6e-b62fde24b5f7" providerId="ADAL" clId="{3687847F-6822-42AA-98DA-1C7AC6CF0E7F}" dt="2023-06-01T16:22:06.494" v="728"/>
          <ac:grpSpMkLst>
            <pc:docMk/>
            <pc:sldMk cId="2257211558" sldId="11626"/>
            <ac:grpSpMk id="81" creationId="{81EBC408-15AF-F6E1-7276-BCB44DBDBEE1}"/>
          </ac:grpSpMkLst>
        </pc:grpChg>
        <pc:grpChg chg="mod">
          <ac:chgData name="Chaoyun Li" userId="266b69f4-5bdf-41aa-8e6e-b62fde24b5f7" providerId="ADAL" clId="{3687847F-6822-42AA-98DA-1C7AC6CF0E7F}" dt="2023-06-01T16:22:06.494" v="728"/>
          <ac:grpSpMkLst>
            <pc:docMk/>
            <pc:sldMk cId="2257211558" sldId="11626"/>
            <ac:grpSpMk id="83" creationId="{EB478EE1-C7FF-445B-FB70-9B0CEA3AB6C2}"/>
          </ac:grpSpMkLst>
        </pc:grpChg>
        <pc:grpChg chg="del">
          <ac:chgData name="Chaoyun Li" userId="266b69f4-5bdf-41aa-8e6e-b62fde24b5f7" providerId="ADAL" clId="{3687847F-6822-42AA-98DA-1C7AC6CF0E7F}" dt="2023-06-01T16:21:54.277" v="723" actId="478"/>
          <ac:grpSpMkLst>
            <pc:docMk/>
            <pc:sldMk cId="2257211558" sldId="11626"/>
            <ac:grpSpMk id="116" creationId="{5E5521C6-4B9E-6CDA-E96F-B1EAED1FC6C5}"/>
          </ac:grpSpMkLst>
        </pc:grpChg>
        <pc:grpChg chg="del">
          <ac:chgData name="Chaoyun Li" userId="266b69f4-5bdf-41aa-8e6e-b62fde24b5f7" providerId="ADAL" clId="{3687847F-6822-42AA-98DA-1C7AC6CF0E7F}" dt="2023-06-01T16:21:54.277" v="723" actId="478"/>
          <ac:grpSpMkLst>
            <pc:docMk/>
            <pc:sldMk cId="2257211558" sldId="11626"/>
            <ac:grpSpMk id="117" creationId="{45C68A18-65BB-6DD2-C214-22675C749B46}"/>
          </ac:grpSpMkLst>
        </pc:grpChg>
        <pc:grpChg chg="del">
          <ac:chgData name="Chaoyun Li" userId="266b69f4-5bdf-41aa-8e6e-b62fde24b5f7" providerId="ADAL" clId="{3687847F-6822-42AA-98DA-1C7AC6CF0E7F}" dt="2023-06-01T16:21:54.277" v="723" actId="478"/>
          <ac:grpSpMkLst>
            <pc:docMk/>
            <pc:sldMk cId="2257211558" sldId="11626"/>
            <ac:grpSpMk id="118" creationId="{7F9490D6-4563-BE1B-27F2-3CF8732129F9}"/>
          </ac:grpSpMkLst>
        </pc:grpChg>
        <pc:grpChg chg="del">
          <ac:chgData name="Chaoyun Li" userId="266b69f4-5bdf-41aa-8e6e-b62fde24b5f7" providerId="ADAL" clId="{3687847F-6822-42AA-98DA-1C7AC6CF0E7F}" dt="2023-06-01T16:21:54.277" v="723" actId="478"/>
          <ac:grpSpMkLst>
            <pc:docMk/>
            <pc:sldMk cId="2257211558" sldId="11626"/>
            <ac:grpSpMk id="119" creationId="{ADDF7184-0B8D-A103-DAA9-98D887290B29}"/>
          </ac:grpSpMkLst>
        </pc:grpChg>
        <pc:grpChg chg="add mod">
          <ac:chgData name="Chaoyun Li" userId="266b69f4-5bdf-41aa-8e6e-b62fde24b5f7" providerId="ADAL" clId="{3687847F-6822-42AA-98DA-1C7AC6CF0E7F}" dt="2023-06-01T16:22:06.494" v="728"/>
          <ac:grpSpMkLst>
            <pc:docMk/>
            <pc:sldMk cId="2257211558" sldId="11626"/>
            <ac:grpSpMk id="121" creationId="{346D56E6-B97B-5EDF-0605-34FD5318AB5B}"/>
          </ac:grpSpMkLst>
        </pc:grpChg>
        <pc:grpChg chg="mod">
          <ac:chgData name="Chaoyun Li" userId="266b69f4-5bdf-41aa-8e6e-b62fde24b5f7" providerId="ADAL" clId="{3687847F-6822-42AA-98DA-1C7AC6CF0E7F}" dt="2023-06-01T16:22:06.494" v="728"/>
          <ac:grpSpMkLst>
            <pc:docMk/>
            <pc:sldMk cId="2257211558" sldId="11626"/>
            <ac:grpSpMk id="122" creationId="{1AFE73AF-F2A1-325D-7A9B-A3C6C2DCD183}"/>
          </ac:grpSpMkLst>
        </pc:grpChg>
        <pc:grpChg chg="mod">
          <ac:chgData name="Chaoyun Li" userId="266b69f4-5bdf-41aa-8e6e-b62fde24b5f7" providerId="ADAL" clId="{3687847F-6822-42AA-98DA-1C7AC6CF0E7F}" dt="2023-06-01T16:22:06.494" v="728"/>
          <ac:grpSpMkLst>
            <pc:docMk/>
            <pc:sldMk cId="2257211558" sldId="11626"/>
            <ac:grpSpMk id="123" creationId="{70B0CAB2-64A7-3A20-8AA9-96C5E4A86D41}"/>
          </ac:grpSpMkLst>
        </pc:grpChg>
        <pc:grpChg chg="mod">
          <ac:chgData name="Chaoyun Li" userId="266b69f4-5bdf-41aa-8e6e-b62fde24b5f7" providerId="ADAL" clId="{3687847F-6822-42AA-98DA-1C7AC6CF0E7F}" dt="2023-06-01T16:22:06.494" v="728"/>
          <ac:grpSpMkLst>
            <pc:docMk/>
            <pc:sldMk cId="2257211558" sldId="11626"/>
            <ac:grpSpMk id="124" creationId="{85381354-860F-FEE9-A613-ADA522B2BD9D}"/>
          </ac:grpSpMkLst>
        </pc:grpChg>
        <pc:grpChg chg="mod">
          <ac:chgData name="Chaoyun Li" userId="266b69f4-5bdf-41aa-8e6e-b62fde24b5f7" providerId="ADAL" clId="{3687847F-6822-42AA-98DA-1C7AC6CF0E7F}" dt="2023-06-01T16:22:06.494" v="728"/>
          <ac:grpSpMkLst>
            <pc:docMk/>
            <pc:sldMk cId="2257211558" sldId="11626"/>
            <ac:grpSpMk id="125" creationId="{F5BDD05B-23C9-E624-9FA1-E9202F35EB7B}"/>
          </ac:grpSpMkLst>
        </pc:grpChg>
        <pc:grpChg chg="mod">
          <ac:chgData name="Chaoyun Li" userId="266b69f4-5bdf-41aa-8e6e-b62fde24b5f7" providerId="ADAL" clId="{3687847F-6822-42AA-98DA-1C7AC6CF0E7F}" dt="2023-06-01T16:22:06.494" v="728"/>
          <ac:grpSpMkLst>
            <pc:docMk/>
            <pc:sldMk cId="2257211558" sldId="11626"/>
            <ac:grpSpMk id="126" creationId="{7E91400E-AD47-D1EC-F9EF-7BA6F2A29FE2}"/>
          </ac:grpSpMkLst>
        </pc:grpChg>
        <pc:graphicFrameChg chg="del">
          <ac:chgData name="Chaoyun Li" userId="266b69f4-5bdf-41aa-8e6e-b62fde24b5f7" providerId="ADAL" clId="{3687847F-6822-42AA-98DA-1C7AC6CF0E7F}" dt="2023-06-01T16:21:54.277" v="723" actId="478"/>
          <ac:graphicFrameMkLst>
            <pc:docMk/>
            <pc:sldMk cId="2257211558" sldId="11626"/>
            <ac:graphicFrameMk id="103" creationId="{7CE70DAE-6CFC-877D-E52E-ACC240A3E852}"/>
          </ac:graphicFrameMkLst>
        </pc:graphicFrameChg>
        <pc:graphicFrameChg chg="del">
          <ac:chgData name="Chaoyun Li" userId="266b69f4-5bdf-41aa-8e6e-b62fde24b5f7" providerId="ADAL" clId="{3687847F-6822-42AA-98DA-1C7AC6CF0E7F}" dt="2023-06-01T16:21:54.277" v="723" actId="478"/>
          <ac:graphicFrameMkLst>
            <pc:docMk/>
            <pc:sldMk cId="2257211558" sldId="11626"/>
            <ac:graphicFrameMk id="104" creationId="{522DDD5D-BA4D-78BF-64F5-504A169DB7EE}"/>
          </ac:graphicFrameMkLst>
        </pc:graphicFrameChg>
        <pc:picChg chg="add del mod">
          <ac:chgData name="Chaoyun Li" userId="266b69f4-5bdf-41aa-8e6e-b62fde24b5f7" providerId="ADAL" clId="{3687847F-6822-42AA-98DA-1C7AC6CF0E7F}" dt="2023-06-01T16:22:06.390" v="727"/>
          <ac:picMkLst>
            <pc:docMk/>
            <pc:sldMk cId="2257211558" sldId="11626"/>
            <ac:picMk id="25" creationId="{73F671D1-74A1-6F74-E8E5-E5E3DF8138D4}"/>
          </ac:picMkLst>
        </pc:picChg>
        <pc:picChg chg="mod">
          <ac:chgData name="Chaoyun Li" userId="266b69f4-5bdf-41aa-8e6e-b62fde24b5f7" providerId="ADAL" clId="{3687847F-6822-42AA-98DA-1C7AC6CF0E7F}" dt="2023-06-01T16:22:03.735" v="724"/>
          <ac:picMkLst>
            <pc:docMk/>
            <pc:sldMk cId="2257211558" sldId="11626"/>
            <ac:picMk id="72" creationId="{91486995-517B-4114-2BFB-C9DA011D1DA3}"/>
          </ac:picMkLst>
        </pc:picChg>
        <pc:picChg chg="mod">
          <ac:chgData name="Chaoyun Li" userId="266b69f4-5bdf-41aa-8e6e-b62fde24b5f7" providerId="ADAL" clId="{3687847F-6822-42AA-98DA-1C7AC6CF0E7F}" dt="2023-06-01T16:22:03.735" v="724"/>
          <ac:picMkLst>
            <pc:docMk/>
            <pc:sldMk cId="2257211558" sldId="11626"/>
            <ac:picMk id="73" creationId="{3699DBDD-B1BD-13D9-428E-58745A493F33}"/>
          </ac:picMkLst>
        </pc:picChg>
        <pc:picChg chg="mod">
          <ac:chgData name="Chaoyun Li" userId="266b69f4-5bdf-41aa-8e6e-b62fde24b5f7" providerId="ADAL" clId="{3687847F-6822-42AA-98DA-1C7AC6CF0E7F}" dt="2023-06-01T16:22:03.735" v="724"/>
          <ac:picMkLst>
            <pc:docMk/>
            <pc:sldMk cId="2257211558" sldId="11626"/>
            <ac:picMk id="74" creationId="{BEFE30AC-1C37-61B1-4958-09614C0A8414}"/>
          </ac:picMkLst>
        </pc:picChg>
        <pc:picChg chg="add mod">
          <ac:chgData name="Chaoyun Li" userId="266b69f4-5bdf-41aa-8e6e-b62fde24b5f7" providerId="ADAL" clId="{3687847F-6822-42AA-98DA-1C7AC6CF0E7F}" dt="2023-06-01T16:22:06.494" v="728"/>
          <ac:picMkLst>
            <pc:docMk/>
            <pc:sldMk cId="2257211558" sldId="11626"/>
            <ac:picMk id="120" creationId="{A75DAEAA-D9DF-A6C6-9CDE-9299B09FDAB8}"/>
          </ac:picMkLst>
        </pc:picChg>
        <pc:picChg chg="mod">
          <ac:chgData name="Chaoyun Li" userId="266b69f4-5bdf-41aa-8e6e-b62fde24b5f7" providerId="ADAL" clId="{3687847F-6822-42AA-98DA-1C7AC6CF0E7F}" dt="2023-06-01T16:22:06.494" v="728"/>
          <ac:picMkLst>
            <pc:docMk/>
            <pc:sldMk cId="2257211558" sldId="11626"/>
            <ac:picMk id="133" creationId="{0C93377D-273C-28E0-15D9-32B8438A236B}"/>
          </ac:picMkLst>
        </pc:picChg>
        <pc:picChg chg="mod">
          <ac:chgData name="Chaoyun Li" userId="266b69f4-5bdf-41aa-8e6e-b62fde24b5f7" providerId="ADAL" clId="{3687847F-6822-42AA-98DA-1C7AC6CF0E7F}" dt="2023-06-01T16:22:06.494" v="728"/>
          <ac:picMkLst>
            <pc:docMk/>
            <pc:sldMk cId="2257211558" sldId="11626"/>
            <ac:picMk id="134" creationId="{837E914C-55B5-1489-62D3-D7F4373500D0}"/>
          </ac:picMkLst>
        </pc:picChg>
        <pc:picChg chg="mod">
          <ac:chgData name="Chaoyun Li" userId="266b69f4-5bdf-41aa-8e6e-b62fde24b5f7" providerId="ADAL" clId="{3687847F-6822-42AA-98DA-1C7AC6CF0E7F}" dt="2023-06-01T16:22:06.494" v="728"/>
          <ac:picMkLst>
            <pc:docMk/>
            <pc:sldMk cId="2257211558" sldId="11626"/>
            <ac:picMk id="135" creationId="{87DA2C91-BCE6-5338-320E-962D7A920EB6}"/>
          </ac:picMkLst>
        </pc:picChg>
        <pc:cxnChg chg="mod">
          <ac:chgData name="Chaoyun Li" userId="266b69f4-5bdf-41aa-8e6e-b62fde24b5f7" providerId="ADAL" clId="{3687847F-6822-42AA-98DA-1C7AC6CF0E7F}" dt="2023-06-01T16:22:03.735" v="724"/>
          <ac:cxnSpMkLst>
            <pc:docMk/>
            <pc:sldMk cId="2257211558" sldId="11626"/>
            <ac:cxnSpMk id="11" creationId="{8430007F-3E64-E3D0-27D3-1C15048663E1}"/>
          </ac:cxnSpMkLst>
        </pc:cxnChg>
        <pc:cxnChg chg="mod">
          <ac:chgData name="Chaoyun Li" userId="266b69f4-5bdf-41aa-8e6e-b62fde24b5f7" providerId="ADAL" clId="{3687847F-6822-42AA-98DA-1C7AC6CF0E7F}" dt="2023-06-01T16:22:03.735" v="724"/>
          <ac:cxnSpMkLst>
            <pc:docMk/>
            <pc:sldMk cId="2257211558" sldId="11626"/>
            <ac:cxnSpMk id="12" creationId="{6BE6BE05-0476-2C90-3F17-41BE7AC8DE2B}"/>
          </ac:cxnSpMkLst>
        </pc:cxnChg>
        <pc:cxnChg chg="mod">
          <ac:chgData name="Chaoyun Li" userId="266b69f4-5bdf-41aa-8e6e-b62fde24b5f7" providerId="ADAL" clId="{3687847F-6822-42AA-98DA-1C7AC6CF0E7F}" dt="2023-06-01T16:22:06.494" v="728"/>
          <ac:cxnSpMkLst>
            <pc:docMk/>
            <pc:sldMk cId="2257211558" sldId="11626"/>
            <ac:cxnSpMk id="87" creationId="{5B47B8F0-DEB8-6289-2C45-6B325637D663}"/>
          </ac:cxnSpMkLst>
        </pc:cxnChg>
        <pc:cxnChg chg="mod">
          <ac:chgData name="Chaoyun Li" userId="266b69f4-5bdf-41aa-8e6e-b62fde24b5f7" providerId="ADAL" clId="{3687847F-6822-42AA-98DA-1C7AC6CF0E7F}" dt="2023-06-01T16:22:06.494" v="728"/>
          <ac:cxnSpMkLst>
            <pc:docMk/>
            <pc:sldMk cId="2257211558" sldId="11626"/>
            <ac:cxnSpMk id="93" creationId="{44E7913C-4B4F-7A06-DC04-E1AF858852FC}"/>
          </ac:cxnSpMkLst>
        </pc:cxnChg>
      </pc:sldChg>
      <pc:sldChg chg="addSp delSp modSp new mod">
        <pc:chgData name="Chaoyun Li" userId="266b69f4-5bdf-41aa-8e6e-b62fde24b5f7" providerId="ADAL" clId="{3687847F-6822-42AA-98DA-1C7AC6CF0E7F}" dt="2023-06-01T16:25:36.234" v="780" actId="20577"/>
        <pc:sldMkLst>
          <pc:docMk/>
          <pc:sldMk cId="3122961215" sldId="11627"/>
        </pc:sldMkLst>
        <pc:spChg chg="del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2" creationId="{1BB74E29-8827-16E0-3858-A1929C19DD9C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3" creationId="{0E8C9E50-6846-0F42-360B-2A72CC0BFB9B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4" creationId="{C20A5304-2C28-48B8-01A4-AC8843AA0C1F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5" creationId="{80306E31-C868-CF0A-72F7-07207C45050E}"/>
          </ac:spMkLst>
        </pc:spChg>
        <pc:spChg chg="mod">
          <ac:chgData name="Chaoyun Li" userId="266b69f4-5bdf-41aa-8e6e-b62fde24b5f7" providerId="ADAL" clId="{3687847F-6822-42AA-98DA-1C7AC6CF0E7F}" dt="2023-06-01T16:22:38.807" v="731"/>
          <ac:spMkLst>
            <pc:docMk/>
            <pc:sldMk cId="3122961215" sldId="11627"/>
            <ac:spMk id="7" creationId="{69C365F8-6EAC-541D-7633-D6BABC56F643}"/>
          </ac:spMkLst>
        </pc:spChg>
        <pc:spChg chg="mod">
          <ac:chgData name="Chaoyun Li" userId="266b69f4-5bdf-41aa-8e6e-b62fde24b5f7" providerId="ADAL" clId="{3687847F-6822-42AA-98DA-1C7AC6CF0E7F}" dt="2023-06-01T16:22:38.807" v="731"/>
          <ac:spMkLst>
            <pc:docMk/>
            <pc:sldMk cId="3122961215" sldId="11627"/>
            <ac:spMk id="9" creationId="{7B9D59F8-3DD3-E292-CD52-46509323A001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12" creationId="{316FCEE8-CD2E-51F0-4983-FE34B939E170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13" creationId="{D7ECB2B4-75E9-107E-9B92-53109C29FB83}"/>
          </ac:spMkLst>
        </pc:spChg>
        <pc:spChg chg="mod">
          <ac:chgData name="Chaoyun Li" userId="266b69f4-5bdf-41aa-8e6e-b62fde24b5f7" providerId="ADAL" clId="{3687847F-6822-42AA-98DA-1C7AC6CF0E7F}" dt="2023-06-01T16:22:38.807" v="731"/>
          <ac:spMkLst>
            <pc:docMk/>
            <pc:sldMk cId="3122961215" sldId="11627"/>
            <ac:spMk id="15" creationId="{807236D5-8B94-B23F-504E-78012A0B66EF}"/>
          </ac:spMkLst>
        </pc:spChg>
        <pc:spChg chg="mod">
          <ac:chgData name="Chaoyun Li" userId="266b69f4-5bdf-41aa-8e6e-b62fde24b5f7" providerId="ADAL" clId="{3687847F-6822-42AA-98DA-1C7AC6CF0E7F}" dt="2023-06-01T16:22:38.807" v="731"/>
          <ac:spMkLst>
            <pc:docMk/>
            <pc:sldMk cId="3122961215" sldId="11627"/>
            <ac:spMk id="16" creationId="{8E76D89F-8564-A392-C24E-0F54EE9B0077}"/>
          </ac:spMkLst>
        </pc:spChg>
        <pc:spChg chg="mod">
          <ac:chgData name="Chaoyun Li" userId="266b69f4-5bdf-41aa-8e6e-b62fde24b5f7" providerId="ADAL" clId="{3687847F-6822-42AA-98DA-1C7AC6CF0E7F}" dt="2023-06-01T16:22:38.807" v="731"/>
          <ac:spMkLst>
            <pc:docMk/>
            <pc:sldMk cId="3122961215" sldId="11627"/>
            <ac:spMk id="20" creationId="{ABF14852-04D0-DB03-67B1-E037E170617D}"/>
          </ac:spMkLst>
        </pc:spChg>
        <pc:spChg chg="mod">
          <ac:chgData name="Chaoyun Li" userId="266b69f4-5bdf-41aa-8e6e-b62fde24b5f7" providerId="ADAL" clId="{3687847F-6822-42AA-98DA-1C7AC6CF0E7F}" dt="2023-06-01T16:22:38.807" v="731"/>
          <ac:spMkLst>
            <pc:docMk/>
            <pc:sldMk cId="3122961215" sldId="11627"/>
            <ac:spMk id="21" creationId="{21D189DF-9207-6E5F-5B27-1A26A3871E18}"/>
          </ac:spMkLst>
        </pc:spChg>
        <pc:spChg chg="mod">
          <ac:chgData name="Chaoyun Li" userId="266b69f4-5bdf-41aa-8e6e-b62fde24b5f7" providerId="ADAL" clId="{3687847F-6822-42AA-98DA-1C7AC6CF0E7F}" dt="2023-06-01T16:22:38.807" v="731"/>
          <ac:spMkLst>
            <pc:docMk/>
            <pc:sldMk cId="3122961215" sldId="11627"/>
            <ac:spMk id="23" creationId="{8E808866-32F9-A4ED-D7BB-C3FF364B7FA7}"/>
          </ac:spMkLst>
        </pc:spChg>
        <pc:spChg chg="mod">
          <ac:chgData name="Chaoyun Li" userId="266b69f4-5bdf-41aa-8e6e-b62fde24b5f7" providerId="ADAL" clId="{3687847F-6822-42AA-98DA-1C7AC6CF0E7F}" dt="2023-06-01T16:22:38.807" v="731"/>
          <ac:spMkLst>
            <pc:docMk/>
            <pc:sldMk cId="3122961215" sldId="11627"/>
            <ac:spMk id="24" creationId="{0AA34169-C473-CEA2-35FD-BBB875FBE412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26" creationId="{56CE7E54-B789-72FD-CD60-447168496E13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27" creationId="{4F5955EB-4FEF-C36D-0230-2287A7CAB3DB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28" creationId="{F16C0050-E6B2-0BED-263E-0C0F24EE266F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29" creationId="{8F9D2230-5ABA-672E-C60E-B7CC73A41A7D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31" creationId="{4A89F892-4536-8A18-BCC7-436847E2BDE1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33" creationId="{85AF6C70-1A15-2F3C-0746-64F03DB8220B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34" creationId="{05CFA7F4-EE17-D1DD-80E7-CF661939EF3C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36" creationId="{133E9197-25FF-202C-FBD4-6CEA1FBCBCAC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37" creationId="{7541DC32-ECDF-5F63-E024-2B9840FEA0E5}"/>
          </ac:spMkLst>
        </pc:spChg>
        <pc:spChg chg="add del mod">
          <ac:chgData name="Chaoyun Li" userId="266b69f4-5bdf-41aa-8e6e-b62fde24b5f7" providerId="ADAL" clId="{3687847F-6822-42AA-98DA-1C7AC6CF0E7F}" dt="2023-06-01T16:22:43.523" v="732"/>
          <ac:spMkLst>
            <pc:docMk/>
            <pc:sldMk cId="3122961215" sldId="11627"/>
            <ac:spMk id="38" creationId="{8BFF43BF-6804-3296-86A2-1A8FB498C4C3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39" creationId="{30FDCE8B-25EE-4CA8-A725-0767EBE7B540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40" creationId="{670DF1A8-ED8F-078E-7F4D-155B1EB87BD4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41" creationId="{908BE164-4714-DC65-9A91-6A1A31E579B0}"/>
          </ac:spMkLst>
        </pc:spChg>
        <pc:spChg chg="mod">
          <ac:chgData name="Chaoyun Li" userId="266b69f4-5bdf-41aa-8e6e-b62fde24b5f7" providerId="ADAL" clId="{3687847F-6822-42AA-98DA-1C7AC6CF0E7F}" dt="2023-06-01T16:22:43.625" v="733"/>
          <ac:spMkLst>
            <pc:docMk/>
            <pc:sldMk cId="3122961215" sldId="11627"/>
            <ac:spMk id="43" creationId="{4C4A2FE8-F971-F5AF-49E6-7E5F47576A0D}"/>
          </ac:spMkLst>
        </pc:spChg>
        <pc:spChg chg="mod">
          <ac:chgData name="Chaoyun Li" userId="266b69f4-5bdf-41aa-8e6e-b62fde24b5f7" providerId="ADAL" clId="{3687847F-6822-42AA-98DA-1C7AC6CF0E7F}" dt="2023-06-01T16:22:43.625" v="733"/>
          <ac:spMkLst>
            <pc:docMk/>
            <pc:sldMk cId="3122961215" sldId="11627"/>
            <ac:spMk id="45" creationId="{1EFDFCE1-6621-F299-5012-5FD1AB183C1D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48" creationId="{C113189F-662B-4094-6ADB-F7C7292E1557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49" creationId="{B67554FA-6769-14CC-C637-4B218BB95103}"/>
          </ac:spMkLst>
        </pc:spChg>
        <pc:spChg chg="mod">
          <ac:chgData name="Chaoyun Li" userId="266b69f4-5bdf-41aa-8e6e-b62fde24b5f7" providerId="ADAL" clId="{3687847F-6822-42AA-98DA-1C7AC6CF0E7F}" dt="2023-06-01T16:22:43.625" v="733"/>
          <ac:spMkLst>
            <pc:docMk/>
            <pc:sldMk cId="3122961215" sldId="11627"/>
            <ac:spMk id="51" creationId="{C4891F78-2497-8915-22EB-ED6C4B4548F4}"/>
          </ac:spMkLst>
        </pc:spChg>
        <pc:spChg chg="mod">
          <ac:chgData name="Chaoyun Li" userId="266b69f4-5bdf-41aa-8e6e-b62fde24b5f7" providerId="ADAL" clId="{3687847F-6822-42AA-98DA-1C7AC6CF0E7F}" dt="2023-06-01T16:22:43.625" v="733"/>
          <ac:spMkLst>
            <pc:docMk/>
            <pc:sldMk cId="3122961215" sldId="11627"/>
            <ac:spMk id="52" creationId="{90E71EF2-9D8A-E7FE-7838-EFF1A0119176}"/>
          </ac:spMkLst>
        </pc:spChg>
        <pc:spChg chg="mod">
          <ac:chgData name="Chaoyun Li" userId="266b69f4-5bdf-41aa-8e6e-b62fde24b5f7" providerId="ADAL" clId="{3687847F-6822-42AA-98DA-1C7AC6CF0E7F}" dt="2023-06-01T16:22:43.625" v="733"/>
          <ac:spMkLst>
            <pc:docMk/>
            <pc:sldMk cId="3122961215" sldId="11627"/>
            <ac:spMk id="56" creationId="{714D8D6D-EFC8-5C05-2FF3-868C21B5A7F8}"/>
          </ac:spMkLst>
        </pc:spChg>
        <pc:spChg chg="mod">
          <ac:chgData name="Chaoyun Li" userId="266b69f4-5bdf-41aa-8e6e-b62fde24b5f7" providerId="ADAL" clId="{3687847F-6822-42AA-98DA-1C7AC6CF0E7F}" dt="2023-06-01T16:22:43.625" v="733"/>
          <ac:spMkLst>
            <pc:docMk/>
            <pc:sldMk cId="3122961215" sldId="11627"/>
            <ac:spMk id="57" creationId="{A37DC797-30AC-790B-8927-6887CFCD786B}"/>
          </ac:spMkLst>
        </pc:spChg>
        <pc:spChg chg="mod">
          <ac:chgData name="Chaoyun Li" userId="266b69f4-5bdf-41aa-8e6e-b62fde24b5f7" providerId="ADAL" clId="{3687847F-6822-42AA-98DA-1C7AC6CF0E7F}" dt="2023-06-01T16:22:43.625" v="733"/>
          <ac:spMkLst>
            <pc:docMk/>
            <pc:sldMk cId="3122961215" sldId="11627"/>
            <ac:spMk id="59" creationId="{BA56CF5B-78BC-7ED8-A230-3908611D760B}"/>
          </ac:spMkLst>
        </pc:spChg>
        <pc:spChg chg="mod">
          <ac:chgData name="Chaoyun Li" userId="266b69f4-5bdf-41aa-8e6e-b62fde24b5f7" providerId="ADAL" clId="{3687847F-6822-42AA-98DA-1C7AC6CF0E7F}" dt="2023-06-01T16:22:43.625" v="733"/>
          <ac:spMkLst>
            <pc:docMk/>
            <pc:sldMk cId="3122961215" sldId="11627"/>
            <ac:spMk id="60" creationId="{3E79BD6A-1278-97AD-4C87-B18F3EDC03AD}"/>
          </ac:spMkLst>
        </pc:spChg>
        <pc:spChg chg="add del mod">
          <ac:chgData name="Chaoyun Li" userId="266b69f4-5bdf-41aa-8e6e-b62fde24b5f7" providerId="ADAL" clId="{3687847F-6822-42AA-98DA-1C7AC6CF0E7F}" dt="2023-06-01T16:23:10.566" v="737" actId="478"/>
          <ac:spMkLst>
            <pc:docMk/>
            <pc:sldMk cId="3122961215" sldId="11627"/>
            <ac:spMk id="62" creationId="{6AC24944-0650-7687-FB32-8E9F6A0DAF9C}"/>
          </ac:spMkLst>
        </pc:spChg>
        <pc:spChg chg="add del mod">
          <ac:chgData name="Chaoyun Li" userId="266b69f4-5bdf-41aa-8e6e-b62fde24b5f7" providerId="ADAL" clId="{3687847F-6822-42AA-98DA-1C7AC6CF0E7F}" dt="2023-06-01T16:23:10.566" v="737" actId="478"/>
          <ac:spMkLst>
            <pc:docMk/>
            <pc:sldMk cId="3122961215" sldId="11627"/>
            <ac:spMk id="63" creationId="{B168E8AF-CFEA-66AE-9E9A-06AB5012504A}"/>
          </ac:spMkLst>
        </pc:spChg>
        <pc:spChg chg="add del mod">
          <ac:chgData name="Chaoyun Li" userId="266b69f4-5bdf-41aa-8e6e-b62fde24b5f7" providerId="ADAL" clId="{3687847F-6822-42AA-98DA-1C7AC6CF0E7F}" dt="2023-06-01T16:23:10.566" v="737" actId="478"/>
          <ac:spMkLst>
            <pc:docMk/>
            <pc:sldMk cId="3122961215" sldId="11627"/>
            <ac:spMk id="64" creationId="{B2AE6F5F-8114-887E-6276-166292A5F7B7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65" creationId="{7DAB6E94-CAD9-F6B3-1FA8-199F7A03F9E7}"/>
          </ac:spMkLst>
        </pc:spChg>
        <pc:spChg chg="add del mod">
          <ac:chgData name="Chaoyun Li" userId="266b69f4-5bdf-41aa-8e6e-b62fde24b5f7" providerId="ADAL" clId="{3687847F-6822-42AA-98DA-1C7AC6CF0E7F}" dt="2023-06-01T16:23:07.796" v="736" actId="478"/>
          <ac:spMkLst>
            <pc:docMk/>
            <pc:sldMk cId="3122961215" sldId="11627"/>
            <ac:spMk id="67" creationId="{A24CCCF3-4EF0-E55F-B9C0-94361CDA22EB}"/>
          </ac:spMkLst>
        </pc:spChg>
        <pc:spChg chg="add del mod">
          <ac:chgData name="Chaoyun Li" userId="266b69f4-5bdf-41aa-8e6e-b62fde24b5f7" providerId="ADAL" clId="{3687847F-6822-42AA-98DA-1C7AC6CF0E7F}" dt="2023-06-01T16:23:07.796" v="736" actId="478"/>
          <ac:spMkLst>
            <pc:docMk/>
            <pc:sldMk cId="3122961215" sldId="11627"/>
            <ac:spMk id="69" creationId="{7B655431-90A3-47E0-528A-D152B226F714}"/>
          </ac:spMkLst>
        </pc:spChg>
        <pc:spChg chg="add del mod">
          <ac:chgData name="Chaoyun Li" userId="266b69f4-5bdf-41aa-8e6e-b62fde24b5f7" providerId="ADAL" clId="{3687847F-6822-42AA-98DA-1C7AC6CF0E7F}" dt="2023-06-01T16:23:07.796" v="736" actId="478"/>
          <ac:spMkLst>
            <pc:docMk/>
            <pc:sldMk cId="3122961215" sldId="11627"/>
            <ac:spMk id="70" creationId="{1B372E19-F4B9-FC88-501B-B64B5C619369}"/>
          </ac:spMkLst>
        </pc:spChg>
        <pc:spChg chg="add del mod">
          <ac:chgData name="Chaoyun Li" userId="266b69f4-5bdf-41aa-8e6e-b62fde24b5f7" providerId="ADAL" clId="{3687847F-6822-42AA-98DA-1C7AC6CF0E7F}" dt="2023-06-01T16:23:07.796" v="736" actId="478"/>
          <ac:spMkLst>
            <pc:docMk/>
            <pc:sldMk cId="3122961215" sldId="11627"/>
            <ac:spMk id="72" creationId="{0FE7000D-127D-B9FB-A428-20DF43703615}"/>
          </ac:spMkLst>
        </pc:spChg>
        <pc:spChg chg="add del mod">
          <ac:chgData name="Chaoyun Li" userId="266b69f4-5bdf-41aa-8e6e-b62fde24b5f7" providerId="ADAL" clId="{3687847F-6822-42AA-98DA-1C7AC6CF0E7F}" dt="2023-06-01T16:23:07.796" v="736" actId="478"/>
          <ac:spMkLst>
            <pc:docMk/>
            <pc:sldMk cId="3122961215" sldId="11627"/>
            <ac:spMk id="73" creationId="{A9F80614-A522-8193-5276-E40C37D43AAE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74" creationId="{F7417616-F77D-9234-1B52-5CAFE44052CC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75" creationId="{CB613C46-643D-9C43-885E-3E61BD29D0EC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76" creationId="{986066B6-C861-2674-CE77-F6161F715730}"/>
          </ac:spMkLst>
        </pc:spChg>
        <pc:spChg chg="mod">
          <ac:chgData name="Chaoyun Li" userId="266b69f4-5bdf-41aa-8e6e-b62fde24b5f7" providerId="ADAL" clId="{3687847F-6822-42AA-98DA-1C7AC6CF0E7F}" dt="2023-06-01T16:23:27.867" v="739" actId="1076"/>
          <ac:spMkLst>
            <pc:docMk/>
            <pc:sldMk cId="3122961215" sldId="11627"/>
            <ac:spMk id="78" creationId="{DABB1AE4-7CA9-AB5C-BE19-BE1FC8D98E8B}"/>
          </ac:spMkLst>
        </pc:spChg>
        <pc:spChg chg="mod">
          <ac:chgData name="Chaoyun Li" userId="266b69f4-5bdf-41aa-8e6e-b62fde24b5f7" providerId="ADAL" clId="{3687847F-6822-42AA-98DA-1C7AC6CF0E7F}" dt="2023-06-01T16:23:27.867" v="739" actId="1076"/>
          <ac:spMkLst>
            <pc:docMk/>
            <pc:sldMk cId="3122961215" sldId="11627"/>
            <ac:spMk id="79" creationId="{4BB516AE-22D2-C3ED-13B1-205358FF69CD}"/>
          </ac:spMkLst>
        </pc:spChg>
        <pc:spChg chg="mod">
          <ac:chgData name="Chaoyun Li" userId="266b69f4-5bdf-41aa-8e6e-b62fde24b5f7" providerId="ADAL" clId="{3687847F-6822-42AA-98DA-1C7AC6CF0E7F}" dt="2023-06-01T16:23:27.867" v="739" actId="1076"/>
          <ac:spMkLst>
            <pc:docMk/>
            <pc:sldMk cId="3122961215" sldId="11627"/>
            <ac:spMk id="80" creationId="{032C3218-F603-A6FA-6289-32677EDA3990}"/>
          </ac:spMkLst>
        </pc:spChg>
        <pc:spChg chg="mod">
          <ac:chgData name="Chaoyun Li" userId="266b69f4-5bdf-41aa-8e6e-b62fde24b5f7" providerId="ADAL" clId="{3687847F-6822-42AA-98DA-1C7AC6CF0E7F}" dt="2023-06-01T16:23:27.867" v="739" actId="1076"/>
          <ac:spMkLst>
            <pc:docMk/>
            <pc:sldMk cId="3122961215" sldId="11627"/>
            <ac:spMk id="81" creationId="{F0AC52ED-AB8D-CD0F-AC04-A6318EA5B865}"/>
          </ac:spMkLst>
        </pc:spChg>
        <pc:spChg chg="mod">
          <ac:chgData name="Chaoyun Li" userId="266b69f4-5bdf-41aa-8e6e-b62fde24b5f7" providerId="ADAL" clId="{3687847F-6822-42AA-98DA-1C7AC6CF0E7F}" dt="2023-06-01T16:23:27.867" v="739" actId="1076"/>
          <ac:spMkLst>
            <pc:docMk/>
            <pc:sldMk cId="3122961215" sldId="11627"/>
            <ac:spMk id="82" creationId="{78A3F473-0D4F-30AD-9EB3-441667B8E8B7}"/>
          </ac:spMkLst>
        </pc:spChg>
        <pc:spChg chg="mod">
          <ac:chgData name="Chaoyun Li" userId="266b69f4-5bdf-41aa-8e6e-b62fde24b5f7" providerId="ADAL" clId="{3687847F-6822-42AA-98DA-1C7AC6CF0E7F}" dt="2023-06-01T16:23:27.867" v="739" actId="1076"/>
          <ac:spMkLst>
            <pc:docMk/>
            <pc:sldMk cId="3122961215" sldId="11627"/>
            <ac:spMk id="85" creationId="{593EBBE6-6715-F215-9803-59F092FAED51}"/>
          </ac:spMkLst>
        </pc:spChg>
        <pc:spChg chg="mod">
          <ac:chgData name="Chaoyun Li" userId="266b69f4-5bdf-41aa-8e6e-b62fde24b5f7" providerId="ADAL" clId="{3687847F-6822-42AA-98DA-1C7AC6CF0E7F}" dt="2023-06-01T16:23:27.867" v="739" actId="1076"/>
          <ac:spMkLst>
            <pc:docMk/>
            <pc:sldMk cId="3122961215" sldId="11627"/>
            <ac:spMk id="88" creationId="{424AAF76-9C41-A0A7-47B6-B4F2D2C5584E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89" creationId="{10A442EE-9F1A-F40F-DAFE-D8443A71951C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90" creationId="{9187C1E6-4E63-EECA-C486-E6EE79476B5D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91" creationId="{E6E94533-547B-FD75-600A-11D1FF90FAC9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92" creationId="{409F35A5-7F95-4902-04F2-9A730F38A7DD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95" creationId="{A02D8BE3-CF8C-3BA3-D801-999DAA26AE66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96" creationId="{3F4FB0B1-76A6-303C-7EAF-B17A0E2967A2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97" creationId="{418B6453-7BD8-A1CF-41AA-455412D01D7C}"/>
          </ac:spMkLst>
        </pc:spChg>
        <pc:spChg chg="mod">
          <ac:chgData name="Chaoyun Li" userId="266b69f4-5bdf-41aa-8e6e-b62fde24b5f7" providerId="ADAL" clId="{3687847F-6822-42AA-98DA-1C7AC6CF0E7F}" dt="2023-06-01T16:23:27.867" v="739" actId="1076"/>
          <ac:spMkLst>
            <pc:docMk/>
            <pc:sldMk cId="3122961215" sldId="11627"/>
            <ac:spMk id="99" creationId="{8AA10F22-BED4-26C9-B970-7E3E9BF7A565}"/>
          </ac:spMkLst>
        </pc:spChg>
        <pc:spChg chg="mod">
          <ac:chgData name="Chaoyun Li" userId="266b69f4-5bdf-41aa-8e6e-b62fde24b5f7" providerId="ADAL" clId="{3687847F-6822-42AA-98DA-1C7AC6CF0E7F}" dt="2023-06-01T16:23:27.867" v="739" actId="1076"/>
          <ac:spMkLst>
            <pc:docMk/>
            <pc:sldMk cId="3122961215" sldId="11627"/>
            <ac:spMk id="100" creationId="{BA2BCA49-2E66-B6C9-123D-F1B9511A0A61}"/>
          </ac:spMkLst>
        </pc:spChg>
        <pc:spChg chg="add del mod">
          <ac:chgData name="Chaoyun Li" userId="266b69f4-5bdf-41aa-8e6e-b62fde24b5f7" providerId="ADAL" clId="{3687847F-6822-42AA-98DA-1C7AC6CF0E7F}" dt="2023-06-01T16:24:02.092" v="741" actId="21"/>
          <ac:spMkLst>
            <pc:docMk/>
            <pc:sldMk cId="3122961215" sldId="11627"/>
            <ac:spMk id="101" creationId="{B2D8AC23-2B79-A7CD-D8B8-5EDE267936A8}"/>
          </ac:spMkLst>
        </pc:spChg>
        <pc:spChg chg="add 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02" creationId="{B1B5C03E-45AA-A9BC-A81A-A6A9B4EED9BE}"/>
          </ac:spMkLst>
        </pc:spChg>
        <pc:spChg chg="add mod">
          <ac:chgData name="Chaoyun Li" userId="266b69f4-5bdf-41aa-8e6e-b62fde24b5f7" providerId="ADAL" clId="{3687847F-6822-42AA-98DA-1C7AC6CF0E7F}" dt="2023-06-01T16:24:11.551" v="744" actId="14100"/>
          <ac:spMkLst>
            <pc:docMk/>
            <pc:sldMk cId="3122961215" sldId="11627"/>
            <ac:spMk id="103" creationId="{CF4AD95B-427C-D3B0-5893-895DD9A78B0C}"/>
          </ac:spMkLst>
        </pc:spChg>
        <pc:spChg chg="add mod">
          <ac:chgData name="Chaoyun Li" userId="266b69f4-5bdf-41aa-8e6e-b62fde24b5f7" providerId="ADAL" clId="{3687847F-6822-42AA-98DA-1C7AC6CF0E7F}" dt="2023-06-01T16:25:07.772" v="752" actId="14100"/>
          <ac:spMkLst>
            <pc:docMk/>
            <pc:sldMk cId="3122961215" sldId="11627"/>
            <ac:spMk id="104" creationId="{4FCB7BFB-B3FD-B56F-02A2-7EFF5E985CFC}"/>
          </ac:spMkLst>
        </pc:spChg>
        <pc:spChg chg="add mod">
          <ac:chgData name="Chaoyun Li" userId="266b69f4-5bdf-41aa-8e6e-b62fde24b5f7" providerId="ADAL" clId="{3687847F-6822-42AA-98DA-1C7AC6CF0E7F}" dt="2023-06-01T16:25:03.335" v="751" actId="14100"/>
          <ac:spMkLst>
            <pc:docMk/>
            <pc:sldMk cId="3122961215" sldId="11627"/>
            <ac:spMk id="105" creationId="{09D42FFF-6453-B3FF-DE3F-357AA227F7DC}"/>
          </ac:spMkLst>
        </pc:spChg>
        <pc:spChg chg="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07" creationId="{7E1A8365-7917-ED05-D498-8C0EBC5A2AE1}"/>
          </ac:spMkLst>
        </pc:spChg>
        <pc:spChg chg="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09" creationId="{B6599A45-770D-C138-7E10-D18C8F1872A5}"/>
          </ac:spMkLst>
        </pc:spChg>
        <pc:spChg chg="add 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12" creationId="{3F161B48-BF30-80CD-389B-5FFBB5367C8D}"/>
          </ac:spMkLst>
        </pc:spChg>
        <pc:spChg chg="add 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13" creationId="{03786042-2722-D5A6-3F70-DFA2ED052022}"/>
          </ac:spMkLst>
        </pc:spChg>
        <pc:spChg chg="add mod">
          <ac:chgData name="Chaoyun Li" userId="266b69f4-5bdf-41aa-8e6e-b62fde24b5f7" providerId="ADAL" clId="{3687847F-6822-42AA-98DA-1C7AC6CF0E7F}" dt="2023-06-01T16:24:32.909" v="748" actId="20577"/>
          <ac:spMkLst>
            <pc:docMk/>
            <pc:sldMk cId="3122961215" sldId="11627"/>
            <ac:spMk id="114" creationId="{85337141-FFAA-F556-0318-D30D9AE8D4F1}"/>
          </ac:spMkLst>
        </pc:spChg>
        <pc:spChg chg="add mod">
          <ac:chgData name="Chaoyun Li" userId="266b69f4-5bdf-41aa-8e6e-b62fde24b5f7" providerId="ADAL" clId="{3687847F-6822-42AA-98DA-1C7AC6CF0E7F}" dt="2023-06-01T16:25:20.115" v="759" actId="1076"/>
          <ac:spMkLst>
            <pc:docMk/>
            <pc:sldMk cId="3122961215" sldId="11627"/>
            <ac:spMk id="115" creationId="{7EFAF1D7-D2E4-96A9-6926-48185116020F}"/>
          </ac:spMkLst>
        </pc:spChg>
        <pc:spChg chg="add 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16" creationId="{5422A6EB-4894-1886-4F06-8E0CB8B24866}"/>
          </ac:spMkLst>
        </pc:spChg>
        <pc:spChg chg="add 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17" creationId="{97A9F267-3C04-33CF-8CE1-01A84366B90C}"/>
          </ac:spMkLst>
        </pc:spChg>
        <pc:spChg chg="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19" creationId="{20D6C431-BAD8-4C7F-1CF6-C47FD8B62325}"/>
          </ac:spMkLst>
        </pc:spChg>
        <pc:spChg chg="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20" creationId="{70F3DC8E-7BFE-B547-1062-0CDA8EE060A0}"/>
          </ac:spMkLst>
        </pc:spChg>
        <pc:spChg chg="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21" creationId="{6C76B183-6C7C-331E-A0EE-BABAD6840DF0}"/>
          </ac:spMkLst>
        </pc:spChg>
        <pc:spChg chg="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22" creationId="{9A54D365-0094-4935-F1B0-09AD74209764}"/>
          </ac:spMkLst>
        </pc:spChg>
        <pc:spChg chg="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23" creationId="{64D0405E-23E0-33F0-D6B8-7D7C0BCA918C}"/>
          </ac:spMkLst>
        </pc:spChg>
        <pc:spChg chg="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26" creationId="{8D60D713-8216-CBE2-5A97-BA239E5766E5}"/>
          </ac:spMkLst>
        </pc:spChg>
        <pc:spChg chg="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29" creationId="{BB1B72AE-F87C-EE72-ACCB-9AA6549515A5}"/>
          </ac:spMkLst>
        </pc:spChg>
        <pc:spChg chg="add 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30" creationId="{2480B3D7-7A00-F1A6-7753-E03CD89A696A}"/>
          </ac:spMkLst>
        </pc:spChg>
        <pc:spChg chg="add 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31" creationId="{28A45C9B-FF05-9002-B637-1783E7C6A0E7}"/>
          </ac:spMkLst>
        </pc:spChg>
        <pc:spChg chg="add 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32" creationId="{6BCBE875-A21A-3D3E-85D0-7F96102085E4}"/>
          </ac:spMkLst>
        </pc:spChg>
        <pc:spChg chg="add 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33" creationId="{C5226518-54DE-8A7E-6F78-DF5A2D93C99C}"/>
          </ac:spMkLst>
        </pc:spChg>
        <pc:spChg chg="add 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36" creationId="{3340B283-0A9B-7347-AEFE-1F09FDA83D4A}"/>
          </ac:spMkLst>
        </pc:spChg>
        <pc:spChg chg="add 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37" creationId="{8F075673-F772-D365-5E7D-25F03CA49050}"/>
          </ac:spMkLst>
        </pc:spChg>
        <pc:spChg chg="add 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38" creationId="{4221DE41-A41F-FFBD-2576-6CC9C0BCE7EB}"/>
          </ac:spMkLst>
        </pc:spChg>
        <pc:spChg chg="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40" creationId="{87509271-6FD7-898A-6CF6-456D65B912AE}"/>
          </ac:spMkLst>
        </pc:spChg>
        <pc:spChg chg="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41" creationId="{169F994C-B888-5A9A-C032-D318B4353FEF}"/>
          </ac:spMkLst>
        </pc:spChg>
        <pc:spChg chg="add mod">
          <ac:chgData name="Chaoyun Li" userId="266b69f4-5bdf-41aa-8e6e-b62fde24b5f7" providerId="ADAL" clId="{3687847F-6822-42AA-98DA-1C7AC6CF0E7F}" dt="2023-06-01T16:24:03.921" v="742"/>
          <ac:spMkLst>
            <pc:docMk/>
            <pc:sldMk cId="3122961215" sldId="11627"/>
            <ac:spMk id="142" creationId="{727058F7-8DA0-5D28-7B5B-686F2C1093EF}"/>
          </ac:spMkLst>
        </pc:spChg>
        <pc:spChg chg="add mod">
          <ac:chgData name="Chaoyun Li" userId="266b69f4-5bdf-41aa-8e6e-b62fde24b5f7" providerId="ADAL" clId="{3687847F-6822-42AA-98DA-1C7AC6CF0E7F}" dt="2023-06-01T16:25:36.234" v="780" actId="20577"/>
          <ac:spMkLst>
            <pc:docMk/>
            <pc:sldMk cId="3122961215" sldId="11627"/>
            <ac:spMk id="143" creationId="{11F3AF81-E6A6-A34A-D67D-B2C7114E2BD7}"/>
          </ac:spMkLst>
        </pc:spChg>
        <pc:spChg chg="add del">
          <ac:chgData name="Chaoyun Li" userId="266b69f4-5bdf-41aa-8e6e-b62fde24b5f7" providerId="ADAL" clId="{3687847F-6822-42AA-98DA-1C7AC6CF0E7F}" dt="2023-06-01T16:25:17.277" v="756" actId="22"/>
          <ac:spMkLst>
            <pc:docMk/>
            <pc:sldMk cId="3122961215" sldId="11627"/>
            <ac:spMk id="145" creationId="{C7D206D0-2454-64E3-BC58-875C0C07AA55}"/>
          </ac:spMkLst>
        </pc:spChg>
        <pc:spChg chg="add mod">
          <ac:chgData name="Chaoyun Li" userId="266b69f4-5bdf-41aa-8e6e-b62fde24b5f7" providerId="ADAL" clId="{3687847F-6822-42AA-98DA-1C7AC6CF0E7F}" dt="2023-06-01T16:25:30.913" v="772" actId="20577"/>
          <ac:spMkLst>
            <pc:docMk/>
            <pc:sldMk cId="3122961215" sldId="11627"/>
            <ac:spMk id="147" creationId="{DA56860B-1B8F-89EF-6874-443D74831AED}"/>
          </ac:spMkLst>
        </pc:spChg>
        <pc:grpChg chg="add del mod">
          <ac:chgData name="Chaoyun Li" userId="266b69f4-5bdf-41aa-8e6e-b62fde24b5f7" providerId="ADAL" clId="{3687847F-6822-42AA-98DA-1C7AC6CF0E7F}" dt="2023-06-01T16:22:43.523" v="732"/>
          <ac:grpSpMkLst>
            <pc:docMk/>
            <pc:sldMk cId="3122961215" sldId="11627"/>
            <ac:grpSpMk id="6" creationId="{1EA33AFB-7B66-7914-59AE-53287834E756}"/>
          </ac:grpSpMkLst>
        </pc:grpChg>
        <pc:grpChg chg="mod">
          <ac:chgData name="Chaoyun Li" userId="266b69f4-5bdf-41aa-8e6e-b62fde24b5f7" providerId="ADAL" clId="{3687847F-6822-42AA-98DA-1C7AC6CF0E7F}" dt="2023-06-01T16:22:38.807" v="731"/>
          <ac:grpSpMkLst>
            <pc:docMk/>
            <pc:sldMk cId="3122961215" sldId="11627"/>
            <ac:grpSpMk id="8" creationId="{6D59A4EA-AA3A-E246-0A70-BA395BE0648E}"/>
          </ac:grpSpMkLst>
        </pc:grpChg>
        <pc:grpChg chg="add del mod">
          <ac:chgData name="Chaoyun Li" userId="266b69f4-5bdf-41aa-8e6e-b62fde24b5f7" providerId="ADAL" clId="{3687847F-6822-42AA-98DA-1C7AC6CF0E7F}" dt="2023-06-01T16:22:43.523" v="732"/>
          <ac:grpSpMkLst>
            <pc:docMk/>
            <pc:sldMk cId="3122961215" sldId="11627"/>
            <ac:grpSpMk id="14" creationId="{A68B0FD0-9038-5E5F-152F-E0927D4C2C20}"/>
          </ac:grpSpMkLst>
        </pc:grpChg>
        <pc:grpChg chg="mod">
          <ac:chgData name="Chaoyun Li" userId="266b69f4-5bdf-41aa-8e6e-b62fde24b5f7" providerId="ADAL" clId="{3687847F-6822-42AA-98DA-1C7AC6CF0E7F}" dt="2023-06-01T16:22:38.807" v="731"/>
          <ac:grpSpMkLst>
            <pc:docMk/>
            <pc:sldMk cId="3122961215" sldId="11627"/>
            <ac:grpSpMk id="22" creationId="{C307B09A-9F33-94B4-B82F-1DAB8D67581B}"/>
          </ac:grpSpMkLst>
        </pc:grpChg>
        <pc:grpChg chg="add del mod">
          <ac:chgData name="Chaoyun Li" userId="266b69f4-5bdf-41aa-8e6e-b62fde24b5f7" providerId="ADAL" clId="{3687847F-6822-42AA-98DA-1C7AC6CF0E7F}" dt="2023-06-01T16:24:02.092" v="741" actId="21"/>
          <ac:grpSpMkLst>
            <pc:docMk/>
            <pc:sldMk cId="3122961215" sldId="11627"/>
            <ac:grpSpMk id="42" creationId="{0E37C4A1-52CD-344E-E569-693991E694F9}"/>
          </ac:grpSpMkLst>
        </pc:grpChg>
        <pc:grpChg chg="mod">
          <ac:chgData name="Chaoyun Li" userId="266b69f4-5bdf-41aa-8e6e-b62fde24b5f7" providerId="ADAL" clId="{3687847F-6822-42AA-98DA-1C7AC6CF0E7F}" dt="2023-06-01T16:22:43.625" v="733"/>
          <ac:grpSpMkLst>
            <pc:docMk/>
            <pc:sldMk cId="3122961215" sldId="11627"/>
            <ac:grpSpMk id="44" creationId="{B7B88A1C-84C8-7180-C938-3FCAD1715E88}"/>
          </ac:grpSpMkLst>
        </pc:grpChg>
        <pc:grpChg chg="add del mod">
          <ac:chgData name="Chaoyun Li" userId="266b69f4-5bdf-41aa-8e6e-b62fde24b5f7" providerId="ADAL" clId="{3687847F-6822-42AA-98DA-1C7AC6CF0E7F}" dt="2023-06-01T16:23:01.686" v="735" actId="478"/>
          <ac:grpSpMkLst>
            <pc:docMk/>
            <pc:sldMk cId="3122961215" sldId="11627"/>
            <ac:grpSpMk id="50" creationId="{6212BBDC-F4A6-B755-3B6D-C8D9947C0CFD}"/>
          </ac:grpSpMkLst>
        </pc:grpChg>
        <pc:grpChg chg="mod">
          <ac:chgData name="Chaoyun Li" userId="266b69f4-5bdf-41aa-8e6e-b62fde24b5f7" providerId="ADAL" clId="{3687847F-6822-42AA-98DA-1C7AC6CF0E7F}" dt="2023-06-01T16:22:43.625" v="733"/>
          <ac:grpSpMkLst>
            <pc:docMk/>
            <pc:sldMk cId="3122961215" sldId="11627"/>
            <ac:grpSpMk id="58" creationId="{11942CB8-10B0-B92D-F6EF-1ED595ABD8C9}"/>
          </ac:grpSpMkLst>
        </pc:grpChg>
        <pc:grpChg chg="add del mod">
          <ac:chgData name="Chaoyun Li" userId="266b69f4-5bdf-41aa-8e6e-b62fde24b5f7" providerId="ADAL" clId="{3687847F-6822-42AA-98DA-1C7AC6CF0E7F}" dt="2023-06-01T16:24:02.092" v="741" actId="21"/>
          <ac:grpSpMkLst>
            <pc:docMk/>
            <pc:sldMk cId="3122961215" sldId="11627"/>
            <ac:grpSpMk id="77" creationId="{2B3E6446-56C3-46B6-5C64-A037FE40011D}"/>
          </ac:grpSpMkLst>
        </pc:grpChg>
        <pc:grpChg chg="add del mod">
          <ac:chgData name="Chaoyun Li" userId="266b69f4-5bdf-41aa-8e6e-b62fde24b5f7" providerId="ADAL" clId="{3687847F-6822-42AA-98DA-1C7AC6CF0E7F}" dt="2023-06-01T16:24:02.092" v="741" actId="21"/>
          <ac:grpSpMkLst>
            <pc:docMk/>
            <pc:sldMk cId="3122961215" sldId="11627"/>
            <ac:grpSpMk id="83" creationId="{9293C16A-66C3-B142-5A1C-890F3EAFEBAF}"/>
          </ac:grpSpMkLst>
        </pc:grpChg>
        <pc:grpChg chg="add del mod">
          <ac:chgData name="Chaoyun Li" userId="266b69f4-5bdf-41aa-8e6e-b62fde24b5f7" providerId="ADAL" clId="{3687847F-6822-42AA-98DA-1C7AC6CF0E7F}" dt="2023-06-01T16:24:02.092" v="741" actId="21"/>
          <ac:grpSpMkLst>
            <pc:docMk/>
            <pc:sldMk cId="3122961215" sldId="11627"/>
            <ac:grpSpMk id="86" creationId="{AF4812F6-4E8F-3684-9B1E-64898AE93C7C}"/>
          </ac:grpSpMkLst>
        </pc:grpChg>
        <pc:grpChg chg="add del mod">
          <ac:chgData name="Chaoyun Li" userId="266b69f4-5bdf-41aa-8e6e-b62fde24b5f7" providerId="ADAL" clId="{3687847F-6822-42AA-98DA-1C7AC6CF0E7F}" dt="2023-06-01T16:24:02.092" v="741" actId="21"/>
          <ac:grpSpMkLst>
            <pc:docMk/>
            <pc:sldMk cId="3122961215" sldId="11627"/>
            <ac:grpSpMk id="98" creationId="{98785C1A-900E-97AE-ED35-A4729170A07E}"/>
          </ac:grpSpMkLst>
        </pc:grpChg>
        <pc:grpChg chg="add mod">
          <ac:chgData name="Chaoyun Li" userId="266b69f4-5bdf-41aa-8e6e-b62fde24b5f7" providerId="ADAL" clId="{3687847F-6822-42AA-98DA-1C7AC6CF0E7F}" dt="2023-06-01T16:24:03.921" v="742"/>
          <ac:grpSpMkLst>
            <pc:docMk/>
            <pc:sldMk cId="3122961215" sldId="11627"/>
            <ac:grpSpMk id="106" creationId="{F45CA999-FA06-F51A-E029-637C573B97A7}"/>
          </ac:grpSpMkLst>
        </pc:grpChg>
        <pc:grpChg chg="mod">
          <ac:chgData name="Chaoyun Li" userId="266b69f4-5bdf-41aa-8e6e-b62fde24b5f7" providerId="ADAL" clId="{3687847F-6822-42AA-98DA-1C7AC6CF0E7F}" dt="2023-06-01T16:24:03.921" v="742"/>
          <ac:grpSpMkLst>
            <pc:docMk/>
            <pc:sldMk cId="3122961215" sldId="11627"/>
            <ac:grpSpMk id="108" creationId="{D3B7D14F-55FF-9A63-6422-19A2DE7F1AD8}"/>
          </ac:grpSpMkLst>
        </pc:grpChg>
        <pc:grpChg chg="add mod">
          <ac:chgData name="Chaoyun Li" userId="266b69f4-5bdf-41aa-8e6e-b62fde24b5f7" providerId="ADAL" clId="{3687847F-6822-42AA-98DA-1C7AC6CF0E7F}" dt="2023-06-01T16:24:03.921" v="742"/>
          <ac:grpSpMkLst>
            <pc:docMk/>
            <pc:sldMk cId="3122961215" sldId="11627"/>
            <ac:grpSpMk id="118" creationId="{D953D249-345C-37C0-54A5-0D027BEA6C59}"/>
          </ac:grpSpMkLst>
        </pc:grpChg>
        <pc:grpChg chg="add mod">
          <ac:chgData name="Chaoyun Li" userId="266b69f4-5bdf-41aa-8e6e-b62fde24b5f7" providerId="ADAL" clId="{3687847F-6822-42AA-98DA-1C7AC6CF0E7F}" dt="2023-06-01T16:24:03.921" v="742"/>
          <ac:grpSpMkLst>
            <pc:docMk/>
            <pc:sldMk cId="3122961215" sldId="11627"/>
            <ac:grpSpMk id="124" creationId="{31831C5A-BE25-8A09-CE1A-5E5BFE3F254A}"/>
          </ac:grpSpMkLst>
        </pc:grpChg>
        <pc:grpChg chg="add mod">
          <ac:chgData name="Chaoyun Li" userId="266b69f4-5bdf-41aa-8e6e-b62fde24b5f7" providerId="ADAL" clId="{3687847F-6822-42AA-98DA-1C7AC6CF0E7F}" dt="2023-06-01T16:24:03.921" v="742"/>
          <ac:grpSpMkLst>
            <pc:docMk/>
            <pc:sldMk cId="3122961215" sldId="11627"/>
            <ac:grpSpMk id="127" creationId="{9C38AF99-AC2C-3E22-D74B-36F1E62B3C77}"/>
          </ac:grpSpMkLst>
        </pc:grpChg>
        <pc:grpChg chg="add mod">
          <ac:chgData name="Chaoyun Li" userId="266b69f4-5bdf-41aa-8e6e-b62fde24b5f7" providerId="ADAL" clId="{3687847F-6822-42AA-98DA-1C7AC6CF0E7F}" dt="2023-06-01T16:24:03.921" v="742"/>
          <ac:grpSpMkLst>
            <pc:docMk/>
            <pc:sldMk cId="3122961215" sldId="11627"/>
            <ac:grpSpMk id="139" creationId="{5617B7D2-4D41-A30F-501E-28A8CE3DD506}"/>
          </ac:grpSpMkLst>
        </pc:grpChg>
        <pc:graphicFrameChg chg="add del mod">
          <ac:chgData name="Chaoyun Li" userId="266b69f4-5bdf-41aa-8e6e-b62fde24b5f7" providerId="ADAL" clId="{3687847F-6822-42AA-98DA-1C7AC6CF0E7F}" dt="2023-06-01T16:24:02.092" v="741" actId="21"/>
          <ac:graphicFrameMkLst>
            <pc:docMk/>
            <pc:sldMk cId="3122961215" sldId="11627"/>
            <ac:graphicFrameMk id="93" creationId="{D9956CAC-8856-3119-D3CC-1517B56E3A77}"/>
          </ac:graphicFrameMkLst>
        </pc:graphicFrameChg>
        <pc:graphicFrameChg chg="add del mod">
          <ac:chgData name="Chaoyun Li" userId="266b69f4-5bdf-41aa-8e6e-b62fde24b5f7" providerId="ADAL" clId="{3687847F-6822-42AA-98DA-1C7AC6CF0E7F}" dt="2023-06-01T16:24:02.092" v="741" actId="21"/>
          <ac:graphicFrameMkLst>
            <pc:docMk/>
            <pc:sldMk cId="3122961215" sldId="11627"/>
            <ac:graphicFrameMk id="94" creationId="{E1C9460A-C335-3A82-D0BD-51E3CD2042A0}"/>
          </ac:graphicFrameMkLst>
        </pc:graphicFrameChg>
        <pc:graphicFrameChg chg="add mod">
          <ac:chgData name="Chaoyun Li" userId="266b69f4-5bdf-41aa-8e6e-b62fde24b5f7" providerId="ADAL" clId="{3687847F-6822-42AA-98DA-1C7AC6CF0E7F}" dt="2023-06-01T16:24:03.921" v="742"/>
          <ac:graphicFrameMkLst>
            <pc:docMk/>
            <pc:sldMk cId="3122961215" sldId="11627"/>
            <ac:graphicFrameMk id="134" creationId="{30EB41C1-9F97-CC3A-35F0-9C831AEF8581}"/>
          </ac:graphicFrameMkLst>
        </pc:graphicFrameChg>
        <pc:graphicFrameChg chg="add mod">
          <ac:chgData name="Chaoyun Li" userId="266b69f4-5bdf-41aa-8e6e-b62fde24b5f7" providerId="ADAL" clId="{3687847F-6822-42AA-98DA-1C7AC6CF0E7F}" dt="2023-06-01T16:24:03.921" v="742"/>
          <ac:graphicFrameMkLst>
            <pc:docMk/>
            <pc:sldMk cId="3122961215" sldId="11627"/>
            <ac:graphicFrameMk id="135" creationId="{C8E64B88-CCD5-0ED7-AB39-0801321C504C}"/>
          </ac:graphicFrameMkLst>
        </pc:graphicFrameChg>
        <pc:picChg chg="mod">
          <ac:chgData name="Chaoyun Li" userId="266b69f4-5bdf-41aa-8e6e-b62fde24b5f7" providerId="ADAL" clId="{3687847F-6822-42AA-98DA-1C7AC6CF0E7F}" dt="2023-06-01T16:22:38.807" v="731"/>
          <ac:picMkLst>
            <pc:docMk/>
            <pc:sldMk cId="3122961215" sldId="11627"/>
            <ac:picMk id="17" creationId="{F509DFC5-7ECE-0F87-1BF2-2708877DEBC4}"/>
          </ac:picMkLst>
        </pc:picChg>
        <pc:picChg chg="mod">
          <ac:chgData name="Chaoyun Li" userId="266b69f4-5bdf-41aa-8e6e-b62fde24b5f7" providerId="ADAL" clId="{3687847F-6822-42AA-98DA-1C7AC6CF0E7F}" dt="2023-06-01T16:22:38.807" v="731"/>
          <ac:picMkLst>
            <pc:docMk/>
            <pc:sldMk cId="3122961215" sldId="11627"/>
            <ac:picMk id="18" creationId="{9C7F4A7D-F4B7-F522-AE5D-1558B53C058E}"/>
          </ac:picMkLst>
        </pc:picChg>
        <pc:picChg chg="mod">
          <ac:chgData name="Chaoyun Li" userId="266b69f4-5bdf-41aa-8e6e-b62fde24b5f7" providerId="ADAL" clId="{3687847F-6822-42AA-98DA-1C7AC6CF0E7F}" dt="2023-06-01T16:22:38.807" v="731"/>
          <ac:picMkLst>
            <pc:docMk/>
            <pc:sldMk cId="3122961215" sldId="11627"/>
            <ac:picMk id="19" creationId="{167E3C53-C820-7B4D-0495-6603536B8ECB}"/>
          </ac:picMkLst>
        </pc:picChg>
        <pc:picChg chg="mod">
          <ac:chgData name="Chaoyun Li" userId="266b69f4-5bdf-41aa-8e6e-b62fde24b5f7" providerId="ADAL" clId="{3687847F-6822-42AA-98DA-1C7AC6CF0E7F}" dt="2023-06-01T16:22:43.625" v="733"/>
          <ac:picMkLst>
            <pc:docMk/>
            <pc:sldMk cId="3122961215" sldId="11627"/>
            <ac:picMk id="53" creationId="{F99AC1E8-25AC-1890-BCD6-FD702C17F2EC}"/>
          </ac:picMkLst>
        </pc:picChg>
        <pc:picChg chg="mod">
          <ac:chgData name="Chaoyun Li" userId="266b69f4-5bdf-41aa-8e6e-b62fde24b5f7" providerId="ADAL" clId="{3687847F-6822-42AA-98DA-1C7AC6CF0E7F}" dt="2023-06-01T16:22:43.625" v="733"/>
          <ac:picMkLst>
            <pc:docMk/>
            <pc:sldMk cId="3122961215" sldId="11627"/>
            <ac:picMk id="54" creationId="{5C2CE928-FEF3-B90E-401F-893B89DC8F0A}"/>
          </ac:picMkLst>
        </pc:picChg>
        <pc:picChg chg="mod">
          <ac:chgData name="Chaoyun Li" userId="266b69f4-5bdf-41aa-8e6e-b62fde24b5f7" providerId="ADAL" clId="{3687847F-6822-42AA-98DA-1C7AC6CF0E7F}" dt="2023-06-01T16:22:43.625" v="733"/>
          <ac:picMkLst>
            <pc:docMk/>
            <pc:sldMk cId="3122961215" sldId="11627"/>
            <ac:picMk id="55" creationId="{06932499-C77D-84B4-E5B2-100B4C997832}"/>
          </ac:picMkLst>
        </pc:picChg>
        <pc:picChg chg="mod">
          <ac:chgData name="Chaoyun Li" userId="266b69f4-5bdf-41aa-8e6e-b62fde24b5f7" providerId="ADAL" clId="{3687847F-6822-42AA-98DA-1C7AC6CF0E7F}" dt="2023-06-01T16:23:27.867" v="739" actId="1076"/>
          <ac:picMkLst>
            <pc:docMk/>
            <pc:sldMk cId="3122961215" sldId="11627"/>
            <ac:picMk id="84" creationId="{5216C673-6E94-5B0C-0602-F30C35F4AAB0}"/>
          </ac:picMkLst>
        </pc:picChg>
        <pc:picChg chg="mod">
          <ac:chgData name="Chaoyun Li" userId="266b69f4-5bdf-41aa-8e6e-b62fde24b5f7" providerId="ADAL" clId="{3687847F-6822-42AA-98DA-1C7AC6CF0E7F}" dt="2023-06-01T16:23:27.867" v="739" actId="1076"/>
          <ac:picMkLst>
            <pc:docMk/>
            <pc:sldMk cId="3122961215" sldId="11627"/>
            <ac:picMk id="87" creationId="{B346932F-0A83-C47C-80CB-F75BA9F27F0C}"/>
          </ac:picMkLst>
        </pc:picChg>
        <pc:picChg chg="mod">
          <ac:chgData name="Chaoyun Li" userId="266b69f4-5bdf-41aa-8e6e-b62fde24b5f7" providerId="ADAL" clId="{3687847F-6822-42AA-98DA-1C7AC6CF0E7F}" dt="2023-06-01T16:24:03.921" v="742"/>
          <ac:picMkLst>
            <pc:docMk/>
            <pc:sldMk cId="3122961215" sldId="11627"/>
            <ac:picMk id="125" creationId="{A39694F2-201F-583A-ABEB-4E9E0FF8F175}"/>
          </ac:picMkLst>
        </pc:picChg>
        <pc:picChg chg="mod">
          <ac:chgData name="Chaoyun Li" userId="266b69f4-5bdf-41aa-8e6e-b62fde24b5f7" providerId="ADAL" clId="{3687847F-6822-42AA-98DA-1C7AC6CF0E7F}" dt="2023-06-01T16:24:03.921" v="742"/>
          <ac:picMkLst>
            <pc:docMk/>
            <pc:sldMk cId="3122961215" sldId="11627"/>
            <ac:picMk id="128" creationId="{2F4E3E17-8014-635D-3C42-B9DA0B552B9B}"/>
          </ac:picMkLst>
        </pc:picChg>
        <pc:cxnChg chg="mod">
          <ac:chgData name="Chaoyun Li" userId="266b69f4-5bdf-41aa-8e6e-b62fde24b5f7" providerId="ADAL" clId="{3687847F-6822-42AA-98DA-1C7AC6CF0E7F}" dt="2023-06-01T16:22:38.807" v="731"/>
          <ac:cxnSpMkLst>
            <pc:docMk/>
            <pc:sldMk cId="3122961215" sldId="11627"/>
            <ac:cxnSpMk id="10" creationId="{83DEB063-D6A1-5E6F-978A-27BFE236522D}"/>
          </ac:cxnSpMkLst>
        </pc:cxnChg>
        <pc:cxnChg chg="mod">
          <ac:chgData name="Chaoyun Li" userId="266b69f4-5bdf-41aa-8e6e-b62fde24b5f7" providerId="ADAL" clId="{3687847F-6822-42AA-98DA-1C7AC6CF0E7F}" dt="2023-06-01T16:22:38.807" v="731"/>
          <ac:cxnSpMkLst>
            <pc:docMk/>
            <pc:sldMk cId="3122961215" sldId="11627"/>
            <ac:cxnSpMk id="11" creationId="{7A37D336-02B5-19A4-9D30-E58BB090A0DA}"/>
          </ac:cxnSpMkLst>
        </pc:cxnChg>
        <pc:cxnChg chg="mod">
          <ac:chgData name="Chaoyun Li" userId="266b69f4-5bdf-41aa-8e6e-b62fde24b5f7" providerId="ADAL" clId="{3687847F-6822-42AA-98DA-1C7AC6CF0E7F}" dt="2023-06-01T16:22:38.807" v="731"/>
          <ac:cxnSpMkLst>
            <pc:docMk/>
            <pc:sldMk cId="3122961215" sldId="11627"/>
            <ac:cxnSpMk id="25" creationId="{C51D2C95-4FDC-DE27-F3FA-99D16BA3C5AE}"/>
          </ac:cxnSpMkLst>
        </pc:cxnChg>
        <pc:cxnChg chg="add del mod">
          <ac:chgData name="Chaoyun Li" userId="266b69f4-5bdf-41aa-8e6e-b62fde24b5f7" providerId="ADAL" clId="{3687847F-6822-42AA-98DA-1C7AC6CF0E7F}" dt="2023-06-01T16:22:43.523" v="732"/>
          <ac:cxnSpMkLst>
            <pc:docMk/>
            <pc:sldMk cId="3122961215" sldId="11627"/>
            <ac:cxnSpMk id="30" creationId="{065EFA49-3C0D-44EF-A289-BF3CE8A4F884}"/>
          </ac:cxnSpMkLst>
        </pc:cxnChg>
        <pc:cxnChg chg="add del mod">
          <ac:chgData name="Chaoyun Li" userId="266b69f4-5bdf-41aa-8e6e-b62fde24b5f7" providerId="ADAL" clId="{3687847F-6822-42AA-98DA-1C7AC6CF0E7F}" dt="2023-06-01T16:22:43.523" v="732"/>
          <ac:cxnSpMkLst>
            <pc:docMk/>
            <pc:sldMk cId="3122961215" sldId="11627"/>
            <ac:cxnSpMk id="32" creationId="{D50D1349-1969-7272-466B-E99B4E39533B}"/>
          </ac:cxnSpMkLst>
        </pc:cxnChg>
        <pc:cxnChg chg="add del mod">
          <ac:chgData name="Chaoyun Li" userId="266b69f4-5bdf-41aa-8e6e-b62fde24b5f7" providerId="ADAL" clId="{3687847F-6822-42AA-98DA-1C7AC6CF0E7F}" dt="2023-06-01T16:22:43.523" v="732"/>
          <ac:cxnSpMkLst>
            <pc:docMk/>
            <pc:sldMk cId="3122961215" sldId="11627"/>
            <ac:cxnSpMk id="35" creationId="{34182AB4-E9E0-5B61-8F79-ACDC321E0794}"/>
          </ac:cxnSpMkLst>
        </pc:cxnChg>
        <pc:cxnChg chg="mod">
          <ac:chgData name="Chaoyun Li" userId="266b69f4-5bdf-41aa-8e6e-b62fde24b5f7" providerId="ADAL" clId="{3687847F-6822-42AA-98DA-1C7AC6CF0E7F}" dt="2023-06-01T16:22:43.625" v="733"/>
          <ac:cxnSpMkLst>
            <pc:docMk/>
            <pc:sldMk cId="3122961215" sldId="11627"/>
            <ac:cxnSpMk id="46" creationId="{AA69DD84-F42D-5A39-7351-55EF38102BE9}"/>
          </ac:cxnSpMkLst>
        </pc:cxnChg>
        <pc:cxnChg chg="mod">
          <ac:chgData name="Chaoyun Li" userId="266b69f4-5bdf-41aa-8e6e-b62fde24b5f7" providerId="ADAL" clId="{3687847F-6822-42AA-98DA-1C7AC6CF0E7F}" dt="2023-06-01T16:22:43.625" v="733"/>
          <ac:cxnSpMkLst>
            <pc:docMk/>
            <pc:sldMk cId="3122961215" sldId="11627"/>
            <ac:cxnSpMk id="47" creationId="{453C4A85-ECFE-DFF5-636D-942BF1053A52}"/>
          </ac:cxnSpMkLst>
        </pc:cxnChg>
        <pc:cxnChg chg="mod">
          <ac:chgData name="Chaoyun Li" userId="266b69f4-5bdf-41aa-8e6e-b62fde24b5f7" providerId="ADAL" clId="{3687847F-6822-42AA-98DA-1C7AC6CF0E7F}" dt="2023-06-01T16:22:43.625" v="733"/>
          <ac:cxnSpMkLst>
            <pc:docMk/>
            <pc:sldMk cId="3122961215" sldId="11627"/>
            <ac:cxnSpMk id="61" creationId="{42444275-0D74-221A-93AB-E19F2916DF70}"/>
          </ac:cxnSpMkLst>
        </pc:cxnChg>
        <pc:cxnChg chg="add del mod">
          <ac:chgData name="Chaoyun Li" userId="266b69f4-5bdf-41aa-8e6e-b62fde24b5f7" providerId="ADAL" clId="{3687847F-6822-42AA-98DA-1C7AC6CF0E7F}" dt="2023-06-01T16:23:07.796" v="736" actId="478"/>
          <ac:cxnSpMkLst>
            <pc:docMk/>
            <pc:sldMk cId="3122961215" sldId="11627"/>
            <ac:cxnSpMk id="66" creationId="{0D5FB884-98BF-D2F6-8336-3E771C2647FB}"/>
          </ac:cxnSpMkLst>
        </pc:cxnChg>
        <pc:cxnChg chg="add del mod">
          <ac:chgData name="Chaoyun Li" userId="266b69f4-5bdf-41aa-8e6e-b62fde24b5f7" providerId="ADAL" clId="{3687847F-6822-42AA-98DA-1C7AC6CF0E7F}" dt="2023-06-01T16:23:07.796" v="736" actId="478"/>
          <ac:cxnSpMkLst>
            <pc:docMk/>
            <pc:sldMk cId="3122961215" sldId="11627"/>
            <ac:cxnSpMk id="68" creationId="{DD51BA96-AF98-6666-A70D-BDC22E3E637D}"/>
          </ac:cxnSpMkLst>
        </pc:cxnChg>
        <pc:cxnChg chg="add del mod">
          <ac:chgData name="Chaoyun Li" userId="266b69f4-5bdf-41aa-8e6e-b62fde24b5f7" providerId="ADAL" clId="{3687847F-6822-42AA-98DA-1C7AC6CF0E7F}" dt="2023-06-01T16:23:07.796" v="736" actId="478"/>
          <ac:cxnSpMkLst>
            <pc:docMk/>
            <pc:sldMk cId="3122961215" sldId="11627"/>
            <ac:cxnSpMk id="71" creationId="{ED7EA464-67CB-2783-6DDB-7A5BD7D15017}"/>
          </ac:cxnSpMkLst>
        </pc:cxnChg>
        <pc:cxnChg chg="mod">
          <ac:chgData name="Chaoyun Li" userId="266b69f4-5bdf-41aa-8e6e-b62fde24b5f7" providerId="ADAL" clId="{3687847F-6822-42AA-98DA-1C7AC6CF0E7F}" dt="2023-06-01T16:24:03.921" v="742"/>
          <ac:cxnSpMkLst>
            <pc:docMk/>
            <pc:sldMk cId="3122961215" sldId="11627"/>
            <ac:cxnSpMk id="110" creationId="{63C80BA3-9869-C491-FCF0-FAE70E830D62}"/>
          </ac:cxnSpMkLst>
        </pc:cxnChg>
        <pc:cxnChg chg="mod">
          <ac:chgData name="Chaoyun Li" userId="266b69f4-5bdf-41aa-8e6e-b62fde24b5f7" providerId="ADAL" clId="{3687847F-6822-42AA-98DA-1C7AC6CF0E7F}" dt="2023-06-01T16:24:03.921" v="742"/>
          <ac:cxnSpMkLst>
            <pc:docMk/>
            <pc:sldMk cId="3122961215" sldId="11627"/>
            <ac:cxnSpMk id="111" creationId="{35D53C88-2338-5D6C-AC0D-C8E29E629B31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579072051994134"/>
          <c:y val="9.9624148226038434E-2"/>
          <c:w val="0.85376325404753906"/>
          <c:h val="0.730654427240552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FFFFF">
                <a:lumMod val="85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FFFF">
                  <a:lumMod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27A-49E9-A28E-8A16EC82965D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E3A80E4C-7F06-4E45-AECD-235F2E152261}" type="VALUE">
                      <a:rPr lang="en-US" smtClean="0"/>
                      <a:pPr/>
                      <a:t>[值]</a:t>
                    </a:fld>
                    <a:r>
                      <a:rPr lang="en-US"/>
                      <a:t>.4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27A-49E9-A28E-8A16EC8296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微软雅黑" panose="020B0503020204020204" pitchFamily="34" charset="-122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7A-49E9-A28E-8A16EC82965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366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A27A-49E9-A28E-8A16EC82965D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69.6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A27A-49E9-A28E-8A16EC8296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微软雅黑" panose="020B0503020204020204" pitchFamily="34" charset="-122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1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27A-49E9-A28E-8A16EC82965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9"/>
        <c:overlap val="-100"/>
        <c:axId val="338113536"/>
        <c:axId val="338755584"/>
      </c:barChart>
      <c:catAx>
        <c:axId val="3381135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ysClr val="windowText" lastClr="000000">
                <a:lumMod val="85000"/>
                <a:lumOff val="15000"/>
              </a:sys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defRPr>
            </a:pPr>
            <a:endParaRPr lang="en-US"/>
          </a:p>
        </c:txPr>
        <c:crossAx val="338755584"/>
        <c:crosses val="autoZero"/>
        <c:auto val="1"/>
        <c:lblAlgn val="ctr"/>
        <c:lblOffset val="100"/>
        <c:noMultiLvlLbl val="0"/>
      </c:catAx>
      <c:valAx>
        <c:axId val="338755584"/>
        <c:scaling>
          <c:orientation val="minMax"/>
          <c:max val="300"/>
          <c:min val="0"/>
        </c:scaling>
        <c:delete val="0"/>
        <c:axPos val="l"/>
        <c:numFmt formatCode="0;&quot;–&quot;0" sourceLinked="0"/>
        <c:majorTickMark val="out"/>
        <c:minorTickMark val="none"/>
        <c:tickLblPos val="nextTo"/>
        <c:spPr>
          <a:noFill/>
          <a:ln w="12700" cap="sq">
            <a:solidFill>
              <a:sysClr val="windowText" lastClr="000000">
                <a:lumMod val="85000"/>
                <a:lumOff val="15000"/>
              </a:sysClr>
            </a:solidFill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defRPr>
            </a:pPr>
            <a:endParaRPr lang="en-US"/>
          </a:p>
        </c:txPr>
        <c:crossAx val="338113536"/>
        <c:crosses val="autoZero"/>
        <c:crossBetween val="between"/>
        <c:minorUnit val="100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>
          <a:latin typeface="微软雅黑" panose="020B0503020204020204" pitchFamily="34" charset="-122"/>
          <a:ea typeface="微软雅黑" panose="020B0503020204020204" pitchFamily="34" charset="-122"/>
          <a:sym typeface="微软雅黑" panose="020B0503020204020204" pitchFamily="34" charset="-122"/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/7/1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42F5AC-BEED-4905-836F-9DB92BE5AF13}" type="datetimeFigureOut">
              <a:rPr lang="en-US" smtClean="0"/>
              <a:t>7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EE570C-CB5F-4FD4-AF9E-2A707C4A3238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ED9FB7-2168-4E65-9A32-7C18D58B61CA}" type="slidenum">
              <a:rPr lang="en-US" smtClean="0"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FB7-2168-4E65-9A32-7C18D58B61C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322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EE570C-CB5F-4FD4-AF9E-2A707C4A323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122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EE570C-CB5F-4FD4-AF9E-2A707C4A323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8102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35" hidden="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22" t="68882" r="11306" b="13767"/>
          <a:stretch>
            <a:fillRect/>
          </a:stretch>
        </p:blipFill>
        <p:spPr>
          <a:xfrm>
            <a:off x="12478228" y="4767943"/>
            <a:ext cx="2717322" cy="607473"/>
          </a:xfrm>
          <a:prstGeom prst="rect">
            <a:avLst/>
          </a:prstGeom>
        </p:spPr>
      </p:pic>
      <p:pic>
        <p:nvPicPr>
          <p:cNvPr id="6" name="图片 35" hidden="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699" t="56749" r="4934" b="13621"/>
          <a:stretch>
            <a:fillRect/>
          </a:stretch>
        </p:blipFill>
        <p:spPr>
          <a:xfrm>
            <a:off x="12946534" y="1354015"/>
            <a:ext cx="2877666" cy="33081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9"/>
          <p:cNvCxnSpPr/>
          <p:nvPr userDrawn="1"/>
        </p:nvCxnSpPr>
        <p:spPr>
          <a:xfrm>
            <a:off x="795867" y="6334495"/>
            <a:ext cx="10557933" cy="0"/>
          </a:xfrm>
          <a:prstGeom prst="line">
            <a:avLst/>
          </a:prstGeom>
          <a:ln w="12700">
            <a:solidFill>
              <a:srgbClr val="544F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排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>
          <a:xfrm>
            <a:off x="444500" y="6224588"/>
            <a:ext cx="8246346" cy="71913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268605" indent="0">
              <a:spcAft>
                <a:spcPts val="0"/>
              </a:spcAft>
              <a:buNone/>
              <a:defRPr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540385" indent="0">
              <a:buNone/>
              <a:defRPr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811530" indent="0">
              <a:buNone/>
              <a:defRPr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1080135" indent="0">
              <a:buNone/>
              <a:defRPr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排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>
          <a:xfrm>
            <a:off x="444500" y="6224588"/>
            <a:ext cx="8246346" cy="71913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268605" indent="0">
              <a:spcAft>
                <a:spcPts val="0"/>
              </a:spcAft>
              <a:buNone/>
              <a:defRPr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540385" indent="0">
              <a:buNone/>
              <a:defRPr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811530" indent="0">
              <a:buNone/>
              <a:defRPr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1080135" indent="0">
              <a:buNone/>
              <a:defRPr sz="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71299"/>
            <a:ext cx="10363200" cy="738664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9498C-333F-44D9-AE3B-9D2C53E64338}" type="datetime1">
              <a:rPr lang="zh-CN" altLang="en-US" smtClean="0"/>
              <a:t>2023/7/1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76409-A502-4E7F-B740-98E33CFD572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CBEC82-2351-4B4C-A4B5-87CAC2F01127}" type="datetime1">
              <a:rPr lang="zh-CN" altLang="en-US" smtClean="0"/>
              <a:t>2023/7/1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B757C5-390E-4F73-B9EE-AFB5DD47937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22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38CE2-54BD-4F79-B96D-D5D5A64E0761}" type="datetime1">
              <a:rPr lang="zh-CN" altLang="en-US" smtClean="0"/>
              <a:t>2023/7/12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544F40"/>
                </a:solidFill>
              </a:rPr>
              <a:t>‹#›</a:t>
            </a:fld>
            <a:endParaRPr lang="en-GB">
              <a:solidFill>
                <a:srgbClr val="544F40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ctr"/>
            <a:fld id="{0E5FE4FD-EC8B-4C81-91E3-15741DC50D7C}" type="datetime1">
              <a:rPr lang="zh-CN" altLang="en-US" smtClean="0"/>
              <a:t>2023/7/1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11326-3BF6-4D83-BE89-4935AA673795}" type="datetime1">
              <a:rPr lang="zh-CN" altLang="en-US" smtClean="0"/>
              <a:t>2023/7/1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B757C5-390E-4F73-B9EE-AFB5DD47937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 userDrawn="1"/>
        </p:nvSpPr>
        <p:spPr>
          <a:xfrm>
            <a:off x="0" y="6437316"/>
            <a:ext cx="12192000" cy="42068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GB" sz="1100">
                <a:solidFill>
                  <a:srgbClr val="83786F"/>
                </a:solidFill>
              </a:rPr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F3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715" imgH="5715" progId="TCLayout.ActiveDocument.1">
                  <p:embed/>
                </p:oleObj>
              </mc:Choice>
              <mc:Fallback>
                <p:oleObj name="think-cell Slide" r:id="rId15" imgW="5715" imgH="571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Tx/>
              <a:buNone/>
            </a:pPr>
            <a:endParaRPr lang="en-US" sz="2400" b="1" i="0" kern="0" baseline="0" err="1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784" y="1188928"/>
            <a:ext cx="11218995" cy="46657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06803" y="6437314"/>
            <a:ext cx="1106831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9F9F533D-B52E-4A2F-BF72-0ADD2D94BD75}" type="slidenum">
              <a:rPr lang="en-GB" smtClean="0">
                <a:solidFill>
                  <a:srgbClr val="544F40"/>
                </a:solidFill>
              </a:rPr>
              <a:t>‹#›</a:t>
            </a:fld>
            <a:endParaRPr lang="en-GB">
              <a:solidFill>
                <a:srgbClr val="544F40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6302" cy="68580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0" y="0"/>
            <a:ext cx="1425061" cy="6815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9509" y="185342"/>
            <a:ext cx="568250" cy="5682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bg2"/>
          </a:solidFill>
          <a:latin typeface="微软雅黑" panose="020B0503020204020204" pitchFamily="34" charset="-122"/>
          <a:ea typeface="微软雅黑" panose="020B0503020204020204" pitchFamily="34" charset="-122"/>
          <a:cs typeface="Calibri" panose="020F0502020204030204" pitchFamily="34" charset="0"/>
        </a:defRPr>
      </a:lvl1pPr>
    </p:titleStyle>
    <p:bodyStyle>
      <a:lvl1pPr marL="269875" indent="-269875" algn="l" defTabSz="914400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–"/>
        <a:defRPr sz="1800" kern="1200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Calibri" panose="020F0502020204030204" pitchFamily="34" charset="0"/>
        </a:defRPr>
      </a:lvl1pPr>
      <a:lvl2pPr marL="538480" indent="-269875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810260" indent="-269875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200" kern="1200">
          <a:solidFill>
            <a:srgbClr val="000000"/>
          </a:solidFill>
          <a:latin typeface="+mn-lt"/>
          <a:ea typeface="+mn-ea"/>
          <a:cs typeface="+mn-cs"/>
        </a:defRPr>
      </a:lvl3pPr>
      <a:lvl4pPr marL="1081405" indent="-269875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200" kern="1200">
          <a:solidFill>
            <a:srgbClr val="000000"/>
          </a:solidFill>
          <a:latin typeface="+mn-lt"/>
          <a:ea typeface="+mn-ea"/>
          <a:cs typeface="+mn-cs"/>
        </a:defRPr>
      </a:lvl4pPr>
      <a:lvl5pPr marL="1350010" indent="-269875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200" b="0" kern="1200">
          <a:solidFill>
            <a:srgbClr val="000000"/>
          </a:solidFill>
          <a:latin typeface="+mn-lt"/>
          <a:ea typeface="+mn-ea"/>
          <a:cs typeface="+mn-cs"/>
        </a:defRPr>
      </a:lvl5pPr>
      <a:lvl6pPr marL="1619885" indent="-269875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00225" indent="-269875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070100" indent="-269875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339975" indent="-269875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矩形 32" hidden="1"/>
          <p:cNvSpPr/>
          <p:nvPr/>
        </p:nvSpPr>
        <p:spPr>
          <a:xfrm>
            <a:off x="601032" y="-1959504"/>
            <a:ext cx="10989936" cy="1309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7200">
                <a:solidFill>
                  <a:prstClr val="whit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的吸入装置易纳器</a:t>
            </a:r>
          </a:p>
        </p:txBody>
      </p:sp>
      <p:sp>
        <p:nvSpPr>
          <p:cNvPr id="35" name="矩形 34" hidden="1"/>
          <p:cNvSpPr/>
          <p:nvPr/>
        </p:nvSpPr>
        <p:spPr>
          <a:xfrm>
            <a:off x="2381484" y="-3723522"/>
            <a:ext cx="7429033" cy="2036007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5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大道至简 </a:t>
            </a:r>
          </a:p>
        </p:txBody>
      </p:sp>
      <p:sp>
        <p:nvSpPr>
          <p:cNvPr id="7" name="文本占位符 3">
            <a:extLst>
              <a:ext uri="{FF2B5EF4-FFF2-40B4-BE49-F238E27FC236}">
                <a16:creationId xmlns:a16="http://schemas.microsoft.com/office/drawing/2014/main" id="{64899A7D-01FC-0537-432F-D1EBD8425A2E}"/>
              </a:ext>
            </a:extLst>
          </p:cNvPr>
          <p:cNvSpPr txBox="1">
            <a:spLocks/>
          </p:cNvSpPr>
          <p:nvPr/>
        </p:nvSpPr>
        <p:spPr>
          <a:xfrm>
            <a:off x="421906" y="1091229"/>
            <a:ext cx="11348185" cy="2996206"/>
          </a:xfrm>
          <a:prstGeom prst="rect">
            <a:avLst/>
          </a:prstGeom>
        </p:spPr>
        <p:txBody>
          <a:bodyPr vert="horz" lIns="90000" tIns="46800" rIns="90000" bIns="46800" rtlCol="0">
            <a:spAutoFit/>
          </a:bodyPr>
          <a:lstStyle>
            <a:lvl1pPr marL="0" indent="0" algn="just" defTabSz="1218926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itchFamily="34" charset="0"/>
              <a:buNone/>
              <a:defRPr sz="2600" b="1" kern="1200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271463" indent="0" algn="just" defTabSz="1218926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2000" kern="1200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533400" indent="0" algn="just" defTabSz="1218926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815975" indent="0" algn="just" defTabSz="1218926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104900" indent="0" algn="just" defTabSz="1218926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b="0" kern="1200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159514" indent="-359919" algn="l" defTabSz="1218926" rtl="0" eaLnBrk="1" latinLnBrk="0" hangingPunct="1">
              <a:spcBef>
                <a:spcPts val="0"/>
              </a:spcBef>
              <a:spcAft>
                <a:spcPts val="8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99460" indent="-359919" algn="l" defTabSz="1218926" rtl="0" eaLnBrk="1" latinLnBrk="0" hangingPunct="1">
              <a:spcBef>
                <a:spcPts val="0"/>
              </a:spcBef>
              <a:spcAft>
                <a:spcPts val="8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59379" indent="-359919" algn="l" defTabSz="1218926" rtl="0" eaLnBrk="1" latinLnBrk="0" hangingPunct="1">
              <a:spcBef>
                <a:spcPts val="0"/>
              </a:spcBef>
              <a:spcAft>
                <a:spcPts val="8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9298" indent="-359919" algn="l" defTabSz="1218926" rtl="0" eaLnBrk="1" latinLnBrk="0" hangingPunct="1">
              <a:spcBef>
                <a:spcPts val="0"/>
              </a:spcBef>
              <a:spcAft>
                <a:spcPts val="8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26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544F40"/>
              </a:buClr>
              <a:buSzTx/>
              <a:buFont typeface="Arial" pitchFamily="34" charset="0"/>
              <a:buNone/>
              <a:tabLst/>
              <a:defRPr/>
            </a:pPr>
            <a:endParaRPr kumimoji="0" lang="en-US" altLang="zh-CN" sz="3200" b="1" i="0" u="sng" strike="noStrike" kern="1200" cap="none" spc="0" normalizeH="0" baseline="0" noProof="0" dirty="0">
              <a:ln>
                <a:noFill/>
              </a:ln>
              <a:solidFill>
                <a:srgbClr val="B80065"/>
              </a:solidFill>
              <a:effectLst/>
              <a:uLnTx/>
              <a:uFillTx/>
              <a:latin typeface="仿宋_GB2312"/>
              <a:cs typeface="Times New Roman" panose="02020603050405020304" pitchFamily="18" charset="0"/>
            </a:endParaRPr>
          </a:p>
          <a:p>
            <a:pPr marL="0" marR="0" lvl="0" indent="0" algn="ctr" defTabSz="1218926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544F4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4400" b="1" i="0" strike="noStrike" kern="1200" cap="none" spc="0" normalizeH="0" baseline="0" noProof="0" dirty="0">
                <a:ln>
                  <a:noFill/>
                </a:ln>
                <a:solidFill>
                  <a:srgbClr val="B80065"/>
                </a:solidFill>
                <a:effectLst/>
                <a:uLnTx/>
                <a:uFillTx/>
                <a:latin typeface="仿宋_GB2312"/>
                <a:cs typeface="Times New Roman" panose="02020603050405020304" pitchFamily="18" charset="0"/>
              </a:rPr>
              <a:t>乌美溴铵</a:t>
            </a:r>
            <a:r>
              <a:rPr lang="zh-CN" altLang="en-US" sz="4400" dirty="0">
                <a:solidFill>
                  <a:srgbClr val="B80065"/>
                </a:solidFill>
                <a:latin typeface="仿宋_GB2312"/>
                <a:cs typeface="Times New Roman" panose="02020603050405020304" pitchFamily="18" charset="0"/>
              </a:rPr>
              <a:t>维兰特罗吸入粉雾剂 </a:t>
            </a:r>
            <a:endParaRPr lang="en-US" altLang="zh-CN" sz="4400" dirty="0">
              <a:solidFill>
                <a:srgbClr val="B80065"/>
              </a:solidFill>
              <a:latin typeface="仿宋_GB2312"/>
              <a:cs typeface="Times New Roman" panose="02020603050405020304" pitchFamily="18" charset="0"/>
            </a:endParaRPr>
          </a:p>
          <a:p>
            <a:pPr marL="0" marR="0" lvl="0" indent="0" algn="ctr" defTabSz="1218926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544F4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4400" b="1" i="0" strike="noStrike" kern="1200" cap="none" spc="0" normalizeH="0" baseline="0" noProof="0" dirty="0">
                <a:ln>
                  <a:noFill/>
                </a:ln>
                <a:solidFill>
                  <a:srgbClr val="B80065"/>
                </a:solidFill>
                <a:effectLst/>
                <a:uLnTx/>
                <a:uFillTx/>
                <a:latin typeface="仿宋_GB2312"/>
                <a:cs typeface="Times New Roman" panose="02020603050405020304" pitchFamily="18" charset="0"/>
              </a:rPr>
              <a:t>（欧乐欣</a:t>
            </a:r>
            <a:r>
              <a:rPr kumimoji="0" lang="en-US" altLang="zh-CN" sz="4800" b="1" i="0" strike="noStrike" kern="1200" cap="none" spc="0" normalizeH="0" baseline="0" noProof="0" dirty="0">
                <a:ln>
                  <a:noFill/>
                </a:ln>
                <a:solidFill>
                  <a:srgbClr val="B80065"/>
                </a:solidFill>
                <a:effectLst/>
                <a:uLnTx/>
                <a:uFillTx/>
                <a:latin typeface="仿宋_GB2312"/>
                <a:cs typeface="Times New Roman" panose="02020603050405020304" pitchFamily="18" charset="0"/>
              </a:rPr>
              <a:t>®</a:t>
            </a:r>
            <a:r>
              <a:rPr kumimoji="0" lang="zh-CN" altLang="en-US" sz="4400" b="1" i="0" strike="noStrike" kern="1200" cap="none" spc="0" normalizeH="0" baseline="0" noProof="0" dirty="0">
                <a:ln>
                  <a:noFill/>
                </a:ln>
                <a:solidFill>
                  <a:srgbClr val="B80065"/>
                </a:solidFill>
                <a:effectLst/>
                <a:uLnTx/>
                <a:uFillTx/>
                <a:latin typeface="仿宋_GB2312"/>
                <a:cs typeface="Times New Roman" panose="02020603050405020304" pitchFamily="18" charset="0"/>
              </a:rPr>
              <a:t>）</a:t>
            </a:r>
            <a:endParaRPr kumimoji="0" lang="en-US" altLang="zh-CN" sz="4400" b="1" i="0" strike="noStrike" kern="1200" cap="none" spc="0" normalizeH="0" baseline="0" noProof="0" dirty="0">
              <a:ln>
                <a:noFill/>
              </a:ln>
              <a:solidFill>
                <a:srgbClr val="B80065"/>
              </a:solidFill>
              <a:effectLst/>
              <a:uLnTx/>
              <a:uFillTx/>
              <a:latin typeface="仿宋_GB2312"/>
              <a:cs typeface="Times New Roman" panose="02020603050405020304" pitchFamily="18" charset="0"/>
            </a:endParaRPr>
          </a:p>
        </p:txBody>
      </p:sp>
      <p:sp>
        <p:nvSpPr>
          <p:cNvPr id="8" name="TextBox 2">
            <a:extLst>
              <a:ext uri="{FF2B5EF4-FFF2-40B4-BE49-F238E27FC236}">
                <a16:creationId xmlns:a16="http://schemas.microsoft.com/office/drawing/2014/main" id="{CC33115E-96FE-7585-8ACF-3CDA497C7670}"/>
              </a:ext>
            </a:extLst>
          </p:cNvPr>
          <p:cNvSpPr txBox="1"/>
          <p:nvPr/>
        </p:nvSpPr>
        <p:spPr>
          <a:xfrm>
            <a:off x="1899920" y="5049520"/>
            <a:ext cx="7457440" cy="586957"/>
          </a:xfrm>
          <a:prstGeom prst="rect">
            <a:avLst/>
          </a:prstGeom>
          <a:noFill/>
        </p:spPr>
        <p:txBody>
          <a:bodyPr wrap="square" lIns="90000" tIns="46800" rIns="90000" bIns="46800" rtlCol="0" anchor="t">
            <a:spAutoFit/>
          </a:bodyPr>
          <a:lstStyle/>
          <a:p>
            <a:pPr algn="r">
              <a:buClr>
                <a:prstClr val="black"/>
              </a:buClr>
            </a:pPr>
            <a:r>
              <a:rPr lang="zh-CN" altLang="en-US" sz="3200" b="1" dirty="0">
                <a:latin typeface="仿宋_GB2312"/>
                <a:ea typeface="等线" panose="02010600030101010101" pitchFamily="2" charset="-122"/>
              </a:rPr>
              <a:t>葛兰素史克（中国）投资有限公司</a:t>
            </a:r>
            <a:endParaRPr lang="en-US" sz="3200" b="1" dirty="0">
              <a:latin typeface="仿宋_GB231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oup 2">
            <a:extLst>
              <a:ext uri="{FF2B5EF4-FFF2-40B4-BE49-F238E27FC236}">
                <a16:creationId xmlns:a16="http://schemas.microsoft.com/office/drawing/2014/main" id="{657287EA-244C-E5B6-4E7B-4DB57C9C4029}"/>
              </a:ext>
            </a:extLst>
          </p:cNvPr>
          <p:cNvGrpSpPr/>
          <p:nvPr/>
        </p:nvGrpSpPr>
        <p:grpSpPr>
          <a:xfrm>
            <a:off x="1224950" y="-30133"/>
            <a:ext cx="9609827" cy="635937"/>
            <a:chOff x="1224950" y="264034"/>
            <a:chExt cx="9609827" cy="635937"/>
          </a:xfrm>
        </p:grpSpPr>
        <p:sp>
          <p:nvSpPr>
            <p:cNvPr id="66" name="文本框 17">
              <a:extLst>
                <a:ext uri="{FF2B5EF4-FFF2-40B4-BE49-F238E27FC236}">
                  <a16:creationId xmlns:a16="http://schemas.microsoft.com/office/drawing/2014/main" id="{A052D48E-B1FF-76D8-1047-FFB0FC442D33}"/>
                </a:ext>
              </a:extLst>
            </p:cNvPr>
            <p:cNvSpPr txBox="1"/>
            <p:nvPr/>
          </p:nvSpPr>
          <p:spPr>
            <a:xfrm>
              <a:off x="3305714" y="264034"/>
              <a:ext cx="54483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1" i="0" u="none" strike="noStrike" kern="0" cap="none" spc="0" normalizeH="0" baseline="0" noProof="0" dirty="0">
                  <a:ln>
                    <a:gradFill>
                      <a:gsLst>
                        <a:gs pos="0">
                          <a:srgbClr val="E4401D"/>
                        </a:gs>
                        <a:gs pos="88000">
                          <a:srgbClr val="F9C235">
                            <a:alpha val="0"/>
                          </a:srgbClr>
                        </a:gs>
                      </a:gsLst>
                      <a:lin ang="5400000" scaled="1"/>
                    </a:gradFill>
                  </a:ln>
                  <a:solidFill>
                    <a:srgbClr val="C33F8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5</a:t>
              </a:r>
              <a:endParaRPr kumimoji="0" lang="zh-CN" altLang="en-US" sz="2000" b="1" i="0" u="none" strike="noStrike" kern="0" cap="none" spc="0" normalizeH="0" baseline="0" noProof="0" dirty="0">
                <a:ln>
                  <a:gradFill>
                    <a:gsLst>
                      <a:gs pos="0">
                        <a:srgbClr val="E4401D"/>
                      </a:gs>
                      <a:gs pos="88000">
                        <a:srgbClr val="F9C235">
                          <a:alpha val="0"/>
                        </a:srgbClr>
                      </a:gs>
                    </a:gsLst>
                    <a:lin ang="5400000" scaled="1"/>
                  </a:gradFill>
                </a:ln>
                <a:solidFill>
                  <a:srgbClr val="C33F8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endParaRPr>
            </a:p>
          </p:txBody>
        </p:sp>
        <p:grpSp>
          <p:nvGrpSpPr>
            <p:cNvPr id="67" name="组合 66">
              <a:extLst>
                <a:ext uri="{FF2B5EF4-FFF2-40B4-BE49-F238E27FC236}">
                  <a16:creationId xmlns:a16="http://schemas.microsoft.com/office/drawing/2014/main" id="{1F519E74-B800-8D54-7293-B58EA021BFA8}"/>
                </a:ext>
              </a:extLst>
            </p:cNvPr>
            <p:cNvGrpSpPr/>
            <p:nvPr/>
          </p:nvGrpSpPr>
          <p:grpSpPr>
            <a:xfrm>
              <a:off x="1224950" y="592194"/>
              <a:ext cx="9609827" cy="307777"/>
              <a:chOff x="607784" y="3395779"/>
              <a:chExt cx="10976432" cy="307777"/>
            </a:xfrm>
          </p:grpSpPr>
          <p:sp>
            <p:nvSpPr>
              <p:cNvPr id="68" name="文本框 14">
                <a:extLst>
                  <a:ext uri="{FF2B5EF4-FFF2-40B4-BE49-F238E27FC236}">
                    <a16:creationId xmlns:a16="http://schemas.microsoft.com/office/drawing/2014/main" id="{E3353D4D-1481-D346-A589-BB7A850A53D6}"/>
                  </a:ext>
                </a:extLst>
              </p:cNvPr>
              <p:cNvSpPr txBox="1"/>
              <p:nvPr/>
            </p:nvSpPr>
            <p:spPr>
              <a:xfrm>
                <a:off x="5611823" y="3395779"/>
                <a:ext cx="1010693" cy="307777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b="1" i="0" u="none" strike="noStrike" kern="0" cap="none" spc="300" normalizeH="0" baseline="0" noProof="0" dirty="0">
                    <a:ln>
                      <a:noFill/>
                    </a:ln>
                    <a:solidFill>
                      <a:srgbClr val="C33F8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公平性</a:t>
                </a:r>
              </a:p>
            </p:txBody>
          </p:sp>
          <p:cxnSp>
            <p:nvCxnSpPr>
              <p:cNvPr id="69" name="直接连接符 18">
                <a:extLst>
                  <a:ext uri="{FF2B5EF4-FFF2-40B4-BE49-F238E27FC236}">
                    <a16:creationId xmlns:a16="http://schemas.microsoft.com/office/drawing/2014/main" id="{68D4CC57-928B-3D1B-BFAA-26562290B2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06916" y="3452239"/>
                <a:ext cx="3077300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70" name="直接连接符 19">
                <a:extLst>
                  <a:ext uri="{FF2B5EF4-FFF2-40B4-BE49-F238E27FC236}">
                    <a16:creationId xmlns:a16="http://schemas.microsoft.com/office/drawing/2014/main" id="{A7149880-998A-2ED0-362D-51AD83AFBA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7784" y="3452239"/>
                <a:ext cx="2929046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</p:grpSp>
      </p:grpSp>
      <p:sp>
        <p:nvSpPr>
          <p:cNvPr id="3" name="灯片编号占位符 1">
            <a:extLst>
              <a:ext uri="{FF2B5EF4-FFF2-40B4-BE49-F238E27FC236}">
                <a16:creationId xmlns:a16="http://schemas.microsoft.com/office/drawing/2014/main" id="{411D0606-A8FA-5D67-5643-C8A70BAE62CE}"/>
              </a:ext>
            </a:extLst>
          </p:cNvPr>
          <p:cNvSpPr txBox="1">
            <a:spLocks/>
          </p:cNvSpPr>
          <p:nvPr/>
        </p:nvSpPr>
        <p:spPr>
          <a:xfrm>
            <a:off x="11077144" y="135784"/>
            <a:ext cx="110683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B757C5-390E-4F73-B9EE-AFB5DD47937F}" type="slidenum">
              <a:rPr lang="zh-CN" altLang="en-US" sz="1200" b="1" smtClean="0"/>
              <a:pPr/>
              <a:t>10</a:t>
            </a:fld>
            <a:endParaRPr lang="zh-CN" altLang="en-US" sz="1200" b="1"/>
          </a:p>
        </p:txBody>
      </p:sp>
      <p:graphicFrame>
        <p:nvGraphicFramePr>
          <p:cNvPr id="2" name="表格 68">
            <a:extLst>
              <a:ext uri="{FF2B5EF4-FFF2-40B4-BE49-F238E27FC236}">
                <a16:creationId xmlns:a16="http://schemas.microsoft.com/office/drawing/2014/main" id="{D66E79E2-4EFB-080A-4309-56BE2C4788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3554750"/>
              </p:ext>
            </p:extLst>
          </p:nvPr>
        </p:nvGraphicFramePr>
        <p:xfrm>
          <a:off x="331404" y="794872"/>
          <a:ext cx="5856035" cy="238865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856035">
                  <a:extLst>
                    <a:ext uri="{9D8B030D-6E8A-4147-A177-3AD203B41FA5}">
                      <a16:colId xmlns:a16="http://schemas.microsoft.com/office/drawing/2014/main" val="971350033"/>
                    </a:ext>
                  </a:extLst>
                </a:gridCol>
              </a:tblGrid>
              <a:tr h="47727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chemeClr val="tx1"/>
                          </a:solidFill>
                        </a:rPr>
                        <a:t>对公共健康的影响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992337"/>
                  </a:ext>
                </a:extLst>
              </a:tr>
              <a:tr h="1911376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dirty="0"/>
                        <a:t>本品具有显著改善肺功能、改善症状、降低加重风险等获益，提升“健康中国</a:t>
                      </a:r>
                      <a:r>
                        <a:rPr lang="en-US" altLang="zh-CN" sz="1600" dirty="0"/>
                        <a:t>2030”</a:t>
                      </a:r>
                      <a:r>
                        <a:rPr lang="zh-CN" altLang="en-US" sz="1600" dirty="0"/>
                        <a:t>行动计划重点防治疾病之一的“慢阻肺”患者的健康水平。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7504848"/>
                  </a:ext>
                </a:extLst>
              </a:tr>
            </a:tbl>
          </a:graphicData>
        </a:graphic>
      </p:graphicFrame>
      <p:graphicFrame>
        <p:nvGraphicFramePr>
          <p:cNvPr id="5" name="表格 68">
            <a:extLst>
              <a:ext uri="{FF2B5EF4-FFF2-40B4-BE49-F238E27FC236}">
                <a16:creationId xmlns:a16="http://schemas.microsoft.com/office/drawing/2014/main" id="{023DFEA8-AD65-3DE0-484E-E99B6902CC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1741388"/>
              </p:ext>
            </p:extLst>
          </p:nvPr>
        </p:nvGraphicFramePr>
        <p:xfrm>
          <a:off x="6475895" y="798726"/>
          <a:ext cx="5384700" cy="23886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84700">
                  <a:extLst>
                    <a:ext uri="{9D8B030D-6E8A-4147-A177-3AD203B41FA5}">
                      <a16:colId xmlns:a16="http://schemas.microsoft.com/office/drawing/2014/main" val="971350033"/>
                    </a:ext>
                  </a:extLst>
                </a:gridCol>
              </a:tblGrid>
              <a:tr h="511914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chemeClr val="tx1"/>
                          </a:solidFill>
                        </a:rPr>
                        <a:t>符合“保基本”原则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992337"/>
                  </a:ext>
                </a:extLst>
              </a:tr>
              <a:tr h="1364728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dirty="0"/>
                        <a:t>早期干预与规范化起始治疗是慢阻肺长期治疗有效性的关键。</a:t>
                      </a:r>
                      <a:r>
                        <a:rPr lang="zh-CN" altLang="en-US" sz="1600" b="1" kern="1200" dirty="0">
                          <a:solidFill>
                            <a:srgbClr val="C33F8A"/>
                          </a:solidFill>
                          <a:latin typeface="+mn-lt"/>
                          <a:ea typeface="+mn-ea"/>
                          <a:cs typeface="+mn-cs"/>
                        </a:rPr>
                        <a:t>将本品报销范围拓宽到适应症，有助于保障轻度患者的医保用药</a:t>
                      </a:r>
                      <a:r>
                        <a:rPr lang="zh-CN" altLang="en-US" sz="1600" dirty="0">
                          <a:solidFill>
                            <a:srgbClr val="C33F8A"/>
                          </a:solidFill>
                        </a:rPr>
                        <a:t>。</a:t>
                      </a:r>
                      <a:endParaRPr lang="en-US" altLang="zh-CN" sz="1600" dirty="0">
                        <a:solidFill>
                          <a:srgbClr val="C33F8A"/>
                        </a:solidFill>
                      </a:endParaRP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dirty="0">
                          <a:solidFill>
                            <a:schemeClr val="tx1"/>
                          </a:solidFill>
                        </a:rPr>
                        <a:t>可</a:t>
                      </a:r>
                      <a:r>
                        <a:rPr lang="zh-CN" altLang="en-US" sz="1600" b="1" kern="1200" dirty="0">
                          <a:solidFill>
                            <a:srgbClr val="C33F8A"/>
                          </a:solidFill>
                          <a:latin typeface="+mn-lt"/>
                          <a:ea typeface="+mn-ea"/>
                          <a:cs typeface="+mn-cs"/>
                        </a:rPr>
                        <a:t>替代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</a:rPr>
                        <a:t>其他双支扩剂，降低患者疾病负担和经济负担，</a:t>
                      </a:r>
                      <a:r>
                        <a:rPr lang="zh-CN" altLang="en-US" sz="1600" b="1" kern="1200" dirty="0">
                          <a:solidFill>
                            <a:srgbClr val="C33F8A"/>
                          </a:solidFill>
                          <a:latin typeface="+mn-lt"/>
                          <a:ea typeface="+mn-ea"/>
                          <a:cs typeface="+mn-cs"/>
                        </a:rPr>
                        <a:t>并节省医</a:t>
                      </a:r>
                      <a:r>
                        <a:rPr lang="zh-CN" altLang="en-US" sz="1600" b="1" dirty="0">
                          <a:solidFill>
                            <a:srgbClr val="C33F8A"/>
                          </a:solidFill>
                        </a:rPr>
                        <a:t>保基金</a:t>
                      </a:r>
                      <a:r>
                        <a:rPr lang="zh-CN" altLang="en-US" sz="1600" dirty="0">
                          <a:solidFill>
                            <a:srgbClr val="C33F8A"/>
                          </a:solidFill>
                        </a:rPr>
                        <a:t>。</a:t>
                      </a:r>
                      <a:endParaRPr lang="en-US" sz="1600" dirty="0">
                        <a:solidFill>
                          <a:srgbClr val="C33F8A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7504848"/>
                  </a:ext>
                </a:extLst>
              </a:tr>
            </a:tbl>
          </a:graphicData>
        </a:graphic>
      </p:graphicFrame>
      <p:graphicFrame>
        <p:nvGraphicFramePr>
          <p:cNvPr id="6" name="表格 68">
            <a:extLst>
              <a:ext uri="{FF2B5EF4-FFF2-40B4-BE49-F238E27FC236}">
                <a16:creationId xmlns:a16="http://schemas.microsoft.com/office/drawing/2014/main" id="{A3F4D151-B838-ECA3-9FF3-56CFF81AFF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8555390"/>
              </p:ext>
            </p:extLst>
          </p:nvPr>
        </p:nvGraphicFramePr>
        <p:xfrm>
          <a:off x="331405" y="3686587"/>
          <a:ext cx="5856035" cy="23187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56035">
                  <a:extLst>
                    <a:ext uri="{9D8B030D-6E8A-4147-A177-3AD203B41FA5}">
                      <a16:colId xmlns:a16="http://schemas.microsoft.com/office/drawing/2014/main" val="971350033"/>
                    </a:ext>
                  </a:extLst>
                </a:gridCol>
              </a:tblGrid>
              <a:tr h="54626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chemeClr val="tx1"/>
                          </a:solidFill>
                        </a:rPr>
                        <a:t>弥补目录短板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992337"/>
                  </a:ext>
                </a:extLst>
              </a:tr>
              <a:tr h="1772485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相比目录内的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  <a:cs typeface="Times New Roman"/>
                        </a:rPr>
                        <a:t>双支扩剂和单支扩剂，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Times New Roman"/>
                        <a:ea typeface="微软雅黑"/>
                        <a:cs typeface="Times New Roman"/>
                      </a:endParaRP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  <a:cs typeface="Times New Roman"/>
                        </a:rPr>
                        <a:t>本品是</a:t>
                      </a:r>
                      <a:r>
                        <a:rPr lang="zh-CN" altLang="en-US" sz="1600" b="1" i="0" u="none" strike="noStrike" kern="1200" baseline="0" dirty="0">
                          <a:solidFill>
                            <a:srgbClr val="C33F8A"/>
                          </a:solidFill>
                          <a:latin typeface="+mn-lt"/>
                          <a:ea typeface="+mn-ea"/>
                          <a:cs typeface="+mn-cs"/>
                        </a:rPr>
                        <a:t>改善肺功能的最优选择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  <a:cs typeface="Times New Roman"/>
                        </a:rPr>
                        <a:t>，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  <a:cs typeface="Times New Roman"/>
                        </a:rPr>
                        <a:t>并降低急性加重风险。</a:t>
                      </a:r>
                      <a:endParaRPr lang="en-US" altLang="zh-CN" sz="1600" b="0" kern="1200" dirty="0">
                        <a:solidFill>
                          <a:schemeClr val="tx1"/>
                        </a:solidFill>
                        <a:latin typeface="Times New Roman"/>
                        <a:ea typeface="微软雅黑"/>
                        <a:cs typeface="Times New Roman"/>
                      </a:endParaRP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  <a:cs typeface="Times New Roman"/>
                        </a:rPr>
                        <a:t>本品</a:t>
                      </a:r>
                      <a:r>
                        <a:rPr lang="zh-CN" altLang="en-US" sz="1600" b="1" i="0" u="none" strike="noStrike" kern="1200" baseline="0" dirty="0">
                          <a:solidFill>
                            <a:srgbClr val="C33F8A"/>
                          </a:solidFill>
                          <a:latin typeface="+mn-lt"/>
                          <a:ea typeface="+mn-ea"/>
                          <a:cs typeface="+mn-cs"/>
                        </a:rPr>
                        <a:t>易纳器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  <a:cs typeface="Times New Roman"/>
                        </a:rPr>
                        <a:t>装置</a:t>
                      </a:r>
                      <a:r>
                        <a:rPr lang="zh-CN" altLang="en-US" sz="1600" b="1" i="0" u="none" strike="noStrike" kern="1200" baseline="0" dirty="0">
                          <a:solidFill>
                            <a:srgbClr val="C33F8A"/>
                          </a:solidFill>
                          <a:latin typeface="+mn-lt"/>
                          <a:ea typeface="+mn-ea"/>
                          <a:cs typeface="+mn-cs"/>
                        </a:rPr>
                        <a:t>易学易用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  <a:cs typeface="Times New Roman"/>
                        </a:rPr>
                        <a:t>、</a:t>
                      </a:r>
                      <a:r>
                        <a:rPr lang="zh-CN" altLang="en-US" sz="1600" b="1" i="0" u="none" strike="noStrike" kern="1200" baseline="0" dirty="0">
                          <a:solidFill>
                            <a:srgbClr val="C33F8A"/>
                          </a:solidFill>
                          <a:latin typeface="+mn-lt"/>
                          <a:ea typeface="+mn-ea"/>
                          <a:cs typeface="+mn-cs"/>
                        </a:rPr>
                        <a:t>稳定递送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Times New Roman"/>
                          <a:ea typeface="微软雅黑"/>
                          <a:cs typeface="Times New Roman"/>
                        </a:rPr>
                        <a:t>、更加适合患者使用。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7504848"/>
                  </a:ext>
                </a:extLst>
              </a:tr>
            </a:tbl>
          </a:graphicData>
        </a:graphic>
      </p:graphicFrame>
      <p:graphicFrame>
        <p:nvGraphicFramePr>
          <p:cNvPr id="8" name="表格 68">
            <a:extLst>
              <a:ext uri="{FF2B5EF4-FFF2-40B4-BE49-F238E27FC236}">
                <a16:creationId xmlns:a16="http://schemas.microsoft.com/office/drawing/2014/main" id="{C7632B10-6096-02A3-85B4-D7D9618E22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6779963"/>
              </p:ext>
            </p:extLst>
          </p:nvPr>
        </p:nvGraphicFramePr>
        <p:xfrm>
          <a:off x="6475895" y="3686587"/>
          <a:ext cx="5384700" cy="23187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84700">
                  <a:extLst>
                    <a:ext uri="{9D8B030D-6E8A-4147-A177-3AD203B41FA5}">
                      <a16:colId xmlns:a16="http://schemas.microsoft.com/office/drawing/2014/main" val="971350033"/>
                    </a:ext>
                  </a:extLst>
                </a:gridCol>
              </a:tblGrid>
              <a:tr h="5253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dirty="0">
                          <a:solidFill>
                            <a:schemeClr val="tx1"/>
                          </a:solidFill>
                        </a:rPr>
                        <a:t>降低临床管理难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992337"/>
                  </a:ext>
                </a:extLst>
              </a:tr>
              <a:tr h="1793438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单一适应症范围明确，</a:t>
                      </a:r>
                      <a:r>
                        <a:rPr lang="zh-CN" altLang="en-US" sz="1600" b="1" i="0" u="none" strike="noStrike" kern="1200" baseline="0" dirty="0">
                          <a:solidFill>
                            <a:srgbClr val="C33F8A"/>
                          </a:solidFill>
                          <a:latin typeface="+mn-lt"/>
                          <a:ea typeface="+mn-ea"/>
                          <a:cs typeface="+mn-cs"/>
                        </a:rPr>
                        <a:t>不存在临床滥用</a:t>
                      </a:r>
                      <a:r>
                        <a:rPr lang="zh-CN" altLang="en-US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或超说明书用药的可能。</a:t>
                      </a:r>
                      <a:endParaRPr lang="zh-CN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75048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7758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7624672-1C29-2B26-548C-AC269A862118}"/>
              </a:ext>
            </a:extLst>
          </p:cNvPr>
          <p:cNvSpPr txBox="1">
            <a:spLocks/>
          </p:cNvSpPr>
          <p:nvPr/>
        </p:nvSpPr>
        <p:spPr>
          <a:xfrm>
            <a:off x="1016000" y="365126"/>
            <a:ext cx="10337799" cy="5872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>
                <a:solidFill>
                  <a:srgbClr val="262626"/>
                </a:solidFill>
                <a:sym typeface="微软雅黑" panose="020B0503020204020204" pitchFamily="34" charset="-122"/>
              </a:rPr>
              <a:t>目录</a:t>
            </a: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500EF25A-5947-DE92-A99C-A489BD506E73}"/>
              </a:ext>
            </a:extLst>
          </p:cNvPr>
          <p:cNvSpPr txBox="1"/>
          <p:nvPr/>
        </p:nvSpPr>
        <p:spPr>
          <a:xfrm>
            <a:off x="1068595" y="398085"/>
            <a:ext cx="10440000" cy="446400"/>
          </a:xfrm>
          <a:prstGeom prst="rect">
            <a:avLst/>
          </a:prstGeom>
        </p:spPr>
        <p:txBody>
          <a:bodyPr anchor="b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微软雅黑" panose="020B0503020204020204" pitchFamily="34" charset="-122"/>
            </a:endParaRPr>
          </a:p>
        </p:txBody>
      </p:sp>
      <p:grpSp>
        <p:nvGrpSpPr>
          <p:cNvPr id="8" name="组合 8">
            <a:extLst>
              <a:ext uri="{FF2B5EF4-FFF2-40B4-BE49-F238E27FC236}">
                <a16:creationId xmlns:a16="http://schemas.microsoft.com/office/drawing/2014/main" id="{A137C647-36AF-0FF0-13F2-0D4D3360F579}"/>
              </a:ext>
            </a:extLst>
          </p:cNvPr>
          <p:cNvGrpSpPr/>
          <p:nvPr/>
        </p:nvGrpSpPr>
        <p:grpSpPr>
          <a:xfrm>
            <a:off x="1075473" y="1435442"/>
            <a:ext cx="3808205" cy="767224"/>
            <a:chOff x="2277162" y="1957773"/>
            <a:chExt cx="3808205" cy="767224"/>
          </a:xfrm>
        </p:grpSpPr>
        <p:sp>
          <p:nvSpPr>
            <p:cNvPr id="9" name="矩形: 圆角 32">
              <a:extLst>
                <a:ext uri="{FF2B5EF4-FFF2-40B4-BE49-F238E27FC236}">
                  <a16:creationId xmlns:a16="http://schemas.microsoft.com/office/drawing/2014/main" id="{C7B2036E-564C-F9E6-4BA1-56A99AD0AEC0}"/>
                </a:ext>
              </a:extLst>
            </p:cNvPr>
            <p:cNvSpPr/>
            <p:nvPr/>
          </p:nvSpPr>
          <p:spPr>
            <a:xfrm>
              <a:off x="2364386" y="2044995"/>
              <a:ext cx="3720981" cy="614445"/>
            </a:xfrm>
            <a:prstGeom prst="roundRect">
              <a:avLst>
                <a:gd name="adj" fmla="val 50000"/>
              </a:avLst>
            </a:prstGeom>
            <a:solidFill>
              <a:srgbClr val="B8075F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10" name="文本框 33">
              <a:extLst>
                <a:ext uri="{FF2B5EF4-FFF2-40B4-BE49-F238E27FC236}">
                  <a16:creationId xmlns:a16="http://schemas.microsoft.com/office/drawing/2014/main" id="{D3660A36-D300-899F-E246-8BEAA8449D57}"/>
                </a:ext>
              </a:extLst>
            </p:cNvPr>
            <p:cNvSpPr txBox="1"/>
            <p:nvPr/>
          </p:nvSpPr>
          <p:spPr>
            <a:xfrm>
              <a:off x="3198974" y="2110553"/>
              <a:ext cx="2727115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药品基本信息</a:t>
              </a:r>
            </a:p>
          </p:txBody>
        </p:sp>
        <p:sp>
          <p:nvSpPr>
            <p:cNvPr id="11" name="矩形: 圆角 34">
              <a:extLst>
                <a:ext uri="{FF2B5EF4-FFF2-40B4-BE49-F238E27FC236}">
                  <a16:creationId xmlns:a16="http://schemas.microsoft.com/office/drawing/2014/main" id="{5A282A02-7F1E-A288-82AD-DA809F29BBD4}"/>
                </a:ext>
              </a:extLst>
            </p:cNvPr>
            <p:cNvSpPr/>
            <p:nvPr/>
          </p:nvSpPr>
          <p:spPr>
            <a:xfrm>
              <a:off x="2277162" y="1957773"/>
              <a:ext cx="767224" cy="76722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01</a:t>
              </a:r>
              <a:endParaRPr kumimoji="0" lang="zh-CN" altLang="en-US" sz="1800" b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12" name="Group 26">
            <a:extLst>
              <a:ext uri="{FF2B5EF4-FFF2-40B4-BE49-F238E27FC236}">
                <a16:creationId xmlns:a16="http://schemas.microsoft.com/office/drawing/2014/main" id="{C2683357-7705-7720-AD43-27D49C222E3F}"/>
              </a:ext>
            </a:extLst>
          </p:cNvPr>
          <p:cNvGrpSpPr/>
          <p:nvPr/>
        </p:nvGrpSpPr>
        <p:grpSpPr>
          <a:xfrm>
            <a:off x="6288595" y="1435442"/>
            <a:ext cx="7129676" cy="767224"/>
            <a:chOff x="2290098" y="2394242"/>
            <a:chExt cx="7129676" cy="767224"/>
          </a:xfrm>
        </p:grpSpPr>
        <p:sp>
          <p:nvSpPr>
            <p:cNvPr id="13" name="矩形: 圆角 74">
              <a:extLst>
                <a:ext uri="{FF2B5EF4-FFF2-40B4-BE49-F238E27FC236}">
                  <a16:creationId xmlns:a16="http://schemas.microsoft.com/office/drawing/2014/main" id="{E46383FB-BC0E-9410-B385-F2568150FF0C}"/>
                </a:ext>
              </a:extLst>
            </p:cNvPr>
            <p:cNvSpPr/>
            <p:nvPr/>
          </p:nvSpPr>
          <p:spPr>
            <a:xfrm>
              <a:off x="2377322" y="2481465"/>
              <a:ext cx="3695027" cy="592778"/>
            </a:xfrm>
            <a:prstGeom prst="roundRect">
              <a:avLst>
                <a:gd name="adj" fmla="val 50000"/>
              </a:avLst>
            </a:prstGeom>
            <a:solidFill>
              <a:srgbClr val="B8075F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15" name="文本框 75">
              <a:extLst>
                <a:ext uri="{FF2B5EF4-FFF2-40B4-BE49-F238E27FC236}">
                  <a16:creationId xmlns:a16="http://schemas.microsoft.com/office/drawing/2014/main" id="{99163552-8E07-686C-505F-C13C3662046A}"/>
                </a:ext>
              </a:extLst>
            </p:cNvPr>
            <p:cNvSpPr txBox="1"/>
            <p:nvPr/>
          </p:nvSpPr>
          <p:spPr>
            <a:xfrm>
              <a:off x="3211910" y="2547022"/>
              <a:ext cx="620786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R="0" lvl="0" indent="0"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sym typeface="微软雅黑" panose="020B0503020204020204" pitchFamily="34" charset="-122"/>
                </a:rPr>
                <a:t>安全性</a:t>
              </a:r>
            </a:p>
          </p:txBody>
        </p:sp>
        <p:sp>
          <p:nvSpPr>
            <p:cNvPr id="16" name="矩形: 圆角 77">
              <a:extLst>
                <a:ext uri="{FF2B5EF4-FFF2-40B4-BE49-F238E27FC236}">
                  <a16:creationId xmlns:a16="http://schemas.microsoft.com/office/drawing/2014/main" id="{F10EE370-1076-84EB-FBF6-E94289CEFE91}"/>
                </a:ext>
              </a:extLst>
            </p:cNvPr>
            <p:cNvSpPr/>
            <p:nvPr/>
          </p:nvSpPr>
          <p:spPr>
            <a:xfrm>
              <a:off x="2290098" y="2394242"/>
              <a:ext cx="767224" cy="76722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02</a:t>
              </a: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17" name="Group 39">
            <a:extLst>
              <a:ext uri="{FF2B5EF4-FFF2-40B4-BE49-F238E27FC236}">
                <a16:creationId xmlns:a16="http://schemas.microsoft.com/office/drawing/2014/main" id="{8AD29A75-88A1-AA0B-B799-2BF6D5FAC8BF}"/>
              </a:ext>
            </a:extLst>
          </p:cNvPr>
          <p:cNvGrpSpPr/>
          <p:nvPr/>
        </p:nvGrpSpPr>
        <p:grpSpPr>
          <a:xfrm>
            <a:off x="1075473" y="3118846"/>
            <a:ext cx="7129676" cy="767224"/>
            <a:chOff x="2290098" y="3596865"/>
            <a:chExt cx="7129676" cy="767224"/>
          </a:xfrm>
        </p:grpSpPr>
        <p:sp>
          <p:nvSpPr>
            <p:cNvPr id="18" name="矩形: 圆角 80">
              <a:extLst>
                <a:ext uri="{FF2B5EF4-FFF2-40B4-BE49-F238E27FC236}">
                  <a16:creationId xmlns:a16="http://schemas.microsoft.com/office/drawing/2014/main" id="{630D19B3-DA93-57AA-6EDE-13DFA550CCCD}"/>
                </a:ext>
              </a:extLst>
            </p:cNvPr>
            <p:cNvSpPr/>
            <p:nvPr/>
          </p:nvSpPr>
          <p:spPr>
            <a:xfrm>
              <a:off x="2377322" y="3684088"/>
              <a:ext cx="3695027" cy="592778"/>
            </a:xfrm>
            <a:prstGeom prst="roundRect">
              <a:avLst>
                <a:gd name="adj" fmla="val 50000"/>
              </a:avLst>
            </a:prstGeom>
            <a:solidFill>
              <a:srgbClr val="B8075F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19" name="文本框 81">
              <a:extLst>
                <a:ext uri="{FF2B5EF4-FFF2-40B4-BE49-F238E27FC236}">
                  <a16:creationId xmlns:a16="http://schemas.microsoft.com/office/drawing/2014/main" id="{55A6F2A2-6D43-0EEC-76E3-511A6BE5C2D7}"/>
                </a:ext>
              </a:extLst>
            </p:cNvPr>
            <p:cNvSpPr txBox="1"/>
            <p:nvPr/>
          </p:nvSpPr>
          <p:spPr>
            <a:xfrm>
              <a:off x="3211910" y="3749645"/>
              <a:ext cx="620786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R="0" lvl="0" indent="0"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sym typeface="微软雅黑" panose="020B0503020204020204" pitchFamily="34" charset="-122"/>
                </a:rPr>
                <a:t>有效性</a:t>
              </a:r>
            </a:p>
          </p:txBody>
        </p:sp>
        <p:sp>
          <p:nvSpPr>
            <p:cNvPr id="20" name="矩形: 圆角 83">
              <a:extLst>
                <a:ext uri="{FF2B5EF4-FFF2-40B4-BE49-F238E27FC236}">
                  <a16:creationId xmlns:a16="http://schemas.microsoft.com/office/drawing/2014/main" id="{9887151A-1451-04B4-BD5D-712339601C4E}"/>
                </a:ext>
              </a:extLst>
            </p:cNvPr>
            <p:cNvSpPr/>
            <p:nvPr/>
          </p:nvSpPr>
          <p:spPr>
            <a:xfrm>
              <a:off x="2290098" y="3596865"/>
              <a:ext cx="767224" cy="76722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03</a:t>
              </a: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23" name="组合 2">
            <a:extLst>
              <a:ext uri="{FF2B5EF4-FFF2-40B4-BE49-F238E27FC236}">
                <a16:creationId xmlns:a16="http://schemas.microsoft.com/office/drawing/2014/main" id="{0C6C429B-34D7-5E5B-5DBD-DB1179CD3C78}"/>
              </a:ext>
            </a:extLst>
          </p:cNvPr>
          <p:cNvGrpSpPr/>
          <p:nvPr/>
        </p:nvGrpSpPr>
        <p:grpSpPr>
          <a:xfrm>
            <a:off x="6288595" y="3118846"/>
            <a:ext cx="7129676" cy="767224"/>
            <a:chOff x="2277162" y="4307172"/>
            <a:chExt cx="7129676" cy="767224"/>
          </a:xfrm>
        </p:grpSpPr>
        <p:sp>
          <p:nvSpPr>
            <p:cNvPr id="51" name="矩形: 圆角 80">
              <a:extLst>
                <a:ext uri="{FF2B5EF4-FFF2-40B4-BE49-F238E27FC236}">
                  <a16:creationId xmlns:a16="http://schemas.microsoft.com/office/drawing/2014/main" id="{DA39EA66-EC61-9754-76C0-7AF1FD27F13C}"/>
                </a:ext>
              </a:extLst>
            </p:cNvPr>
            <p:cNvSpPr/>
            <p:nvPr/>
          </p:nvSpPr>
          <p:spPr>
            <a:xfrm>
              <a:off x="2364386" y="4394395"/>
              <a:ext cx="3720981" cy="592778"/>
            </a:xfrm>
            <a:prstGeom prst="roundRect">
              <a:avLst>
                <a:gd name="adj" fmla="val 50000"/>
              </a:avLst>
            </a:prstGeom>
            <a:solidFill>
              <a:srgbClr val="B8075F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56" name="文本框 81">
              <a:extLst>
                <a:ext uri="{FF2B5EF4-FFF2-40B4-BE49-F238E27FC236}">
                  <a16:creationId xmlns:a16="http://schemas.microsoft.com/office/drawing/2014/main" id="{A9F80469-1619-4D09-ED06-C1F8E2D64DB3}"/>
                </a:ext>
              </a:extLst>
            </p:cNvPr>
            <p:cNvSpPr txBox="1"/>
            <p:nvPr/>
          </p:nvSpPr>
          <p:spPr>
            <a:xfrm>
              <a:off x="3198974" y="4459952"/>
              <a:ext cx="620786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R="0" lvl="0" indent="0"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dirty="0">
                  <a:solidFill>
                    <a:schemeClr val="bg1"/>
                  </a:solidFill>
                  <a:sym typeface="微软雅黑" panose="020B0503020204020204" pitchFamily="34" charset="-122"/>
                </a:rPr>
                <a:t>创新性</a:t>
              </a:r>
              <a:endPara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微软雅黑" panose="020B0503020204020204" pitchFamily="34" charset="-122"/>
              </a:endParaRPr>
            </a:p>
          </p:txBody>
        </p:sp>
        <p:sp>
          <p:nvSpPr>
            <p:cNvPr id="57" name="矩形: 圆角 83">
              <a:extLst>
                <a:ext uri="{FF2B5EF4-FFF2-40B4-BE49-F238E27FC236}">
                  <a16:creationId xmlns:a16="http://schemas.microsoft.com/office/drawing/2014/main" id="{66E3B03B-8FC1-DF64-F0D2-B7BA1D49B1EB}"/>
                </a:ext>
              </a:extLst>
            </p:cNvPr>
            <p:cNvSpPr/>
            <p:nvPr/>
          </p:nvSpPr>
          <p:spPr>
            <a:xfrm>
              <a:off x="2277162" y="4307172"/>
              <a:ext cx="767224" cy="76722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04</a:t>
              </a: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58" name="组合 2">
            <a:extLst>
              <a:ext uri="{FF2B5EF4-FFF2-40B4-BE49-F238E27FC236}">
                <a16:creationId xmlns:a16="http://schemas.microsoft.com/office/drawing/2014/main" id="{3D0A4C36-BBF2-7EBB-049A-A2C67032B494}"/>
              </a:ext>
            </a:extLst>
          </p:cNvPr>
          <p:cNvGrpSpPr/>
          <p:nvPr/>
        </p:nvGrpSpPr>
        <p:grpSpPr>
          <a:xfrm>
            <a:off x="1075473" y="4802250"/>
            <a:ext cx="3962793" cy="767224"/>
            <a:chOff x="2277162" y="4307172"/>
            <a:chExt cx="3962793" cy="767224"/>
          </a:xfrm>
        </p:grpSpPr>
        <p:sp>
          <p:nvSpPr>
            <p:cNvPr id="59" name="矩形: 圆角 80">
              <a:extLst>
                <a:ext uri="{FF2B5EF4-FFF2-40B4-BE49-F238E27FC236}">
                  <a16:creationId xmlns:a16="http://schemas.microsoft.com/office/drawing/2014/main" id="{EE1197BF-23E8-6D3A-567C-91E868D1143C}"/>
                </a:ext>
              </a:extLst>
            </p:cNvPr>
            <p:cNvSpPr/>
            <p:nvPr/>
          </p:nvSpPr>
          <p:spPr>
            <a:xfrm>
              <a:off x="2364386" y="4394395"/>
              <a:ext cx="3720981" cy="592778"/>
            </a:xfrm>
            <a:prstGeom prst="roundRect">
              <a:avLst>
                <a:gd name="adj" fmla="val 50000"/>
              </a:avLst>
            </a:prstGeom>
            <a:solidFill>
              <a:srgbClr val="B8075F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60" name="文本框 81">
              <a:extLst>
                <a:ext uri="{FF2B5EF4-FFF2-40B4-BE49-F238E27FC236}">
                  <a16:creationId xmlns:a16="http://schemas.microsoft.com/office/drawing/2014/main" id="{2F042ECA-3D99-6D93-FD0B-045762BDFF20}"/>
                </a:ext>
              </a:extLst>
            </p:cNvPr>
            <p:cNvSpPr txBox="1"/>
            <p:nvPr/>
          </p:nvSpPr>
          <p:spPr>
            <a:xfrm>
              <a:off x="3198974" y="4459952"/>
              <a:ext cx="3040981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R="0" lvl="0" indent="0"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dirty="0">
                  <a:solidFill>
                    <a:schemeClr val="bg1"/>
                  </a:solidFill>
                  <a:sym typeface="微软雅黑" panose="020B0503020204020204" pitchFamily="34" charset="-122"/>
                </a:rPr>
                <a:t>公平性</a:t>
              </a:r>
              <a:endPara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微软雅黑" panose="020B0503020204020204" pitchFamily="34" charset="-122"/>
              </a:endParaRPr>
            </a:p>
          </p:txBody>
        </p:sp>
        <p:sp>
          <p:nvSpPr>
            <p:cNvPr id="61" name="矩形: 圆角 83">
              <a:extLst>
                <a:ext uri="{FF2B5EF4-FFF2-40B4-BE49-F238E27FC236}">
                  <a16:creationId xmlns:a16="http://schemas.microsoft.com/office/drawing/2014/main" id="{EE03461E-6695-55CD-4F19-1E7AF3404040}"/>
                </a:ext>
              </a:extLst>
            </p:cNvPr>
            <p:cNvSpPr/>
            <p:nvPr/>
          </p:nvSpPr>
          <p:spPr>
            <a:xfrm>
              <a:off x="2277162" y="4307172"/>
              <a:ext cx="767224" cy="76722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05</a:t>
              </a: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14" name="灯片编号占位符 1">
            <a:extLst>
              <a:ext uri="{FF2B5EF4-FFF2-40B4-BE49-F238E27FC236}">
                <a16:creationId xmlns:a16="http://schemas.microsoft.com/office/drawing/2014/main" id="{F974F4CB-D56D-1894-9718-D952051BCDCB}"/>
              </a:ext>
            </a:extLst>
          </p:cNvPr>
          <p:cNvSpPr txBox="1">
            <a:spLocks/>
          </p:cNvSpPr>
          <p:nvPr/>
        </p:nvSpPr>
        <p:spPr>
          <a:xfrm>
            <a:off x="11085169" y="332529"/>
            <a:ext cx="110683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B757C5-390E-4F73-B9EE-AFB5DD47937F}" type="slidenum">
              <a:rPr lang="zh-CN" altLang="en-US" sz="1200" b="1" smtClean="0"/>
              <a:pPr/>
              <a:t>2</a:t>
            </a:fld>
            <a:endParaRPr lang="zh-CN" altLang="en-US" sz="1200" b="1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0F2E9591-2797-D1FC-C463-5576E50EA5D0}"/>
              </a:ext>
            </a:extLst>
          </p:cNvPr>
          <p:cNvSpPr/>
          <p:nvPr/>
        </p:nvSpPr>
        <p:spPr bwMode="auto">
          <a:xfrm>
            <a:off x="5748727" y="3681731"/>
            <a:ext cx="6304045" cy="238812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72000" numCol="1" spcCol="0" rtlCol="0" fromWordArt="0" anchor="t" anchorCtr="0" forceAA="0" compatLnSpc="1">
            <a:noAutofit/>
          </a:bodyPr>
          <a:lstStyle/>
          <a:p>
            <a:pPr algn="l" eaLnBrk="0" hangingPunct="0">
              <a:lnSpc>
                <a:spcPct val="120000"/>
              </a:lnSpc>
              <a:buClr>
                <a:schemeClr val="bg1"/>
              </a:buClr>
            </a:pPr>
            <a:endParaRPr lang="en-US" sz="1200" kern="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" name="Group 2">
            <a:extLst>
              <a:ext uri="{FF2B5EF4-FFF2-40B4-BE49-F238E27FC236}">
                <a16:creationId xmlns:a16="http://schemas.microsoft.com/office/drawing/2014/main" id="{A39D3989-ECE9-0AA5-8E39-DA762EBB1F87}"/>
              </a:ext>
            </a:extLst>
          </p:cNvPr>
          <p:cNvGrpSpPr/>
          <p:nvPr/>
        </p:nvGrpSpPr>
        <p:grpSpPr>
          <a:xfrm>
            <a:off x="1224950" y="-30133"/>
            <a:ext cx="9609827" cy="656257"/>
            <a:chOff x="1224950" y="264034"/>
            <a:chExt cx="9609827" cy="656257"/>
          </a:xfrm>
        </p:grpSpPr>
        <p:sp>
          <p:nvSpPr>
            <p:cNvPr id="15" name="文本框 17">
              <a:extLst>
                <a:ext uri="{FF2B5EF4-FFF2-40B4-BE49-F238E27FC236}">
                  <a16:creationId xmlns:a16="http://schemas.microsoft.com/office/drawing/2014/main" id="{D1ED309A-7FA3-5120-BC54-81EFA0A6ABF8}"/>
                </a:ext>
              </a:extLst>
            </p:cNvPr>
            <p:cNvSpPr txBox="1"/>
            <p:nvPr/>
          </p:nvSpPr>
          <p:spPr>
            <a:xfrm>
              <a:off x="3305714" y="264034"/>
              <a:ext cx="54483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1" i="0" u="none" strike="noStrike" kern="0" cap="none" spc="0" normalizeH="0" baseline="0" noProof="0" dirty="0">
                  <a:ln>
                    <a:gradFill>
                      <a:gsLst>
                        <a:gs pos="0">
                          <a:srgbClr val="E4401D"/>
                        </a:gs>
                        <a:gs pos="88000">
                          <a:srgbClr val="F9C235">
                            <a:alpha val="0"/>
                          </a:srgbClr>
                        </a:gs>
                      </a:gsLst>
                      <a:lin ang="5400000" scaled="1"/>
                    </a:gradFill>
                  </a:ln>
                  <a:solidFill>
                    <a:srgbClr val="B8006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1</a:t>
              </a:r>
              <a:endParaRPr kumimoji="0" lang="zh-CN" altLang="en-US" sz="2000" b="1" i="0" u="none" strike="noStrike" kern="0" cap="none" spc="0" normalizeH="0" baseline="0" noProof="0" dirty="0">
                <a:ln>
                  <a:gradFill>
                    <a:gsLst>
                      <a:gs pos="0">
                        <a:srgbClr val="E4401D"/>
                      </a:gs>
                      <a:gs pos="88000">
                        <a:srgbClr val="F9C235">
                          <a:alpha val="0"/>
                        </a:srgbClr>
                      </a:gs>
                    </a:gsLst>
                    <a:lin ang="5400000" scaled="1"/>
                  </a:gradFill>
                </a:ln>
                <a:solidFill>
                  <a:srgbClr val="B80065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endParaRPr>
            </a:p>
          </p:txBody>
        </p: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FFB7C7D4-E7BD-15D2-9012-06DB61BB6D55}"/>
                </a:ext>
              </a:extLst>
            </p:cNvPr>
            <p:cNvGrpSpPr/>
            <p:nvPr/>
          </p:nvGrpSpPr>
          <p:grpSpPr>
            <a:xfrm>
              <a:off x="1224950" y="612514"/>
              <a:ext cx="9609827" cy="307777"/>
              <a:chOff x="607784" y="3416099"/>
              <a:chExt cx="10976432" cy="307777"/>
            </a:xfrm>
          </p:grpSpPr>
          <p:sp>
            <p:nvSpPr>
              <p:cNvPr id="24" name="文本框 14">
                <a:extLst>
                  <a:ext uri="{FF2B5EF4-FFF2-40B4-BE49-F238E27FC236}">
                    <a16:creationId xmlns:a16="http://schemas.microsoft.com/office/drawing/2014/main" id="{F6282BA8-B71B-64DA-273B-280F22EF7538}"/>
                  </a:ext>
                </a:extLst>
              </p:cNvPr>
              <p:cNvSpPr txBox="1"/>
              <p:nvPr/>
            </p:nvSpPr>
            <p:spPr>
              <a:xfrm>
                <a:off x="5106474" y="3416099"/>
                <a:ext cx="2021386" cy="307777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b="1" i="0" u="none" strike="noStrike" kern="0" cap="none" spc="300" normalizeH="0" baseline="0" noProof="0" dirty="0">
                    <a:ln>
                      <a:noFill/>
                    </a:ln>
                    <a:solidFill>
                      <a:srgbClr val="B80065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药品基本信息</a:t>
                </a:r>
              </a:p>
            </p:txBody>
          </p:sp>
          <p:cxnSp>
            <p:nvCxnSpPr>
              <p:cNvPr id="25" name="直接连接符 18">
                <a:extLst>
                  <a:ext uri="{FF2B5EF4-FFF2-40B4-BE49-F238E27FC236}">
                    <a16:creationId xmlns:a16="http://schemas.microsoft.com/office/drawing/2014/main" id="{E95D9DB7-83BC-6484-A035-391872AEA4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06916" y="3571981"/>
                <a:ext cx="3077300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" name="直接连接符 19">
                <a:extLst>
                  <a:ext uri="{FF2B5EF4-FFF2-40B4-BE49-F238E27FC236}">
                    <a16:creationId xmlns:a16="http://schemas.microsoft.com/office/drawing/2014/main" id="{F5EB754F-2D1D-4D73-DBB7-40CDB6B694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7784" y="3571981"/>
                <a:ext cx="2929046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</p:grpSp>
      </p:grpSp>
      <p:graphicFrame>
        <p:nvGraphicFramePr>
          <p:cNvPr id="32" name="Table 12">
            <a:extLst>
              <a:ext uri="{FF2B5EF4-FFF2-40B4-BE49-F238E27FC236}">
                <a16:creationId xmlns:a16="http://schemas.microsoft.com/office/drawing/2014/main" id="{FFC60A42-5C50-FE0A-1286-916DEAF47B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3364220"/>
              </p:ext>
            </p:extLst>
          </p:nvPr>
        </p:nvGraphicFramePr>
        <p:xfrm>
          <a:off x="87865" y="784315"/>
          <a:ext cx="5448300" cy="5285535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1457472">
                  <a:extLst>
                    <a:ext uri="{9D8B030D-6E8A-4147-A177-3AD203B41FA5}">
                      <a16:colId xmlns:a16="http://schemas.microsoft.com/office/drawing/2014/main" val="2917810121"/>
                    </a:ext>
                  </a:extLst>
                </a:gridCol>
                <a:gridCol w="1044428">
                  <a:extLst>
                    <a:ext uri="{9D8B030D-6E8A-4147-A177-3AD203B41FA5}">
                      <a16:colId xmlns:a16="http://schemas.microsoft.com/office/drawing/2014/main" val="2926647669"/>
                    </a:ext>
                  </a:extLst>
                </a:gridCol>
                <a:gridCol w="1620765">
                  <a:extLst>
                    <a:ext uri="{9D8B030D-6E8A-4147-A177-3AD203B41FA5}">
                      <a16:colId xmlns:a16="http://schemas.microsoft.com/office/drawing/2014/main" val="4058873558"/>
                    </a:ext>
                  </a:extLst>
                </a:gridCol>
                <a:gridCol w="1325635">
                  <a:extLst>
                    <a:ext uri="{9D8B030D-6E8A-4147-A177-3AD203B41FA5}">
                      <a16:colId xmlns:a16="http://schemas.microsoft.com/office/drawing/2014/main" val="3918306933"/>
                    </a:ext>
                  </a:extLst>
                </a:gridCol>
              </a:tblGrid>
              <a:tr h="7468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ctr" defTabSz="914400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通用名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highlight>
                          <a:srgbClr val="FFFFFF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乌美溴铵维兰特罗吸入粉雾剂 </a:t>
                      </a:r>
                      <a:endParaRPr lang="en-US" sz="1400" b="0" kern="1200" dirty="0">
                        <a:solidFill>
                          <a:schemeClr val="tx1"/>
                        </a:solidFill>
                        <a:highlight>
                          <a:srgbClr val="FFFFFF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654802"/>
                  </a:ext>
                </a:extLst>
              </a:tr>
              <a:tr h="909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ctr" defTabSz="914400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注册规格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 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乌美溴铵（以乌美铵计）</a:t>
                      </a:r>
                      <a:r>
                        <a:rPr lang="en-US" altLang="zh-CN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62.5μg</a:t>
                      </a:r>
                      <a:r>
                        <a:rPr lang="zh-CN" alt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与三苯乙酸维兰特罗（以维兰特罗计）</a:t>
                      </a:r>
                      <a:r>
                        <a:rPr lang="en-US" altLang="zh-CN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5μg</a:t>
                      </a:r>
                      <a:r>
                        <a:rPr lang="zh-CN" alt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。</a:t>
                      </a: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highlight>
                          <a:srgbClr val="FFFFFF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4848300"/>
                  </a:ext>
                </a:extLst>
              </a:tr>
              <a:tr h="17333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用法用量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highlight>
                          <a:srgbClr val="FFFFFF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用法</a:t>
                      </a:r>
                      <a:r>
                        <a:rPr lang="en-US" altLang="zh-CN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:</a:t>
                      </a:r>
                      <a:r>
                        <a:rPr lang="zh-CN" alt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本品仅用于经口吸入。</a:t>
                      </a:r>
                    </a:p>
                    <a:p>
                      <a:pPr marL="0" marR="0"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用量</a:t>
                      </a:r>
                      <a:r>
                        <a:rPr lang="en-US" altLang="zh-CN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:</a:t>
                      </a:r>
                      <a:r>
                        <a:rPr lang="zh-CN" alt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成人推荐剂量是</a:t>
                      </a:r>
                      <a:r>
                        <a:rPr lang="zh-CN" altLang="en-US" sz="1400" b="0" u="none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每次吸入本品</a:t>
                      </a:r>
                      <a:r>
                        <a:rPr lang="en-US" altLang="zh-CN" sz="1400" b="0" u="none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62.5μg/25μg</a:t>
                      </a:r>
                      <a:r>
                        <a:rPr lang="zh-CN" altLang="en-US" sz="1400" b="0" u="none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，每日一次</a:t>
                      </a:r>
                      <a:r>
                        <a:rPr lang="zh-CN" alt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。本品应在每天同一时间给药，每日一次，以维持支气管扩张作用。最大剂量是每次吸入本品</a:t>
                      </a:r>
                      <a:r>
                        <a:rPr lang="en-US" altLang="zh-CN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62.5μg/25μg</a:t>
                      </a:r>
                      <a:r>
                        <a:rPr lang="zh-CN" alt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，每日一次。</a:t>
                      </a:r>
                      <a:endParaRPr lang="en-US" sz="1400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highlight>
                          <a:srgbClr val="FFFFFF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3629900"/>
                  </a:ext>
                </a:extLst>
              </a:tr>
              <a:tr h="9384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ctr" defTabSz="914400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中国大陆首次</a:t>
                      </a:r>
                      <a:endParaRPr lang="en-US" altLang="zh-CN" sz="1400" b="0" kern="1200" dirty="0">
                        <a:solidFill>
                          <a:schemeClr val="tx1"/>
                        </a:solidFill>
                        <a:effectLst/>
                        <a:highlight>
                          <a:srgbClr val="FFFFFF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algn="ctr" defTabSz="914400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上市时间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 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018</a:t>
                      </a:r>
                      <a:r>
                        <a:rPr lang="zh-CN" alt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年</a:t>
                      </a:r>
                      <a:r>
                        <a:rPr lang="en-US" altLang="zh-CN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zh-CN" alt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月</a:t>
                      </a: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highlight>
                          <a:srgbClr val="FFFFFF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全球首个上市国家</a:t>
                      </a:r>
                      <a:r>
                        <a:rPr lang="en-US" altLang="zh-CN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zh-CN" alt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地区及上市时间</a:t>
                      </a:r>
                    </a:p>
                  </a:txBody>
                  <a:tcPr anchor="ctr">
                    <a:lnL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美国，</a:t>
                      </a:r>
                      <a:endParaRPr lang="en-US" altLang="zh-CN" sz="1400" kern="1200" dirty="0">
                        <a:solidFill>
                          <a:schemeClr val="tx1"/>
                        </a:solidFill>
                        <a:highlight>
                          <a:srgbClr val="FFFFFF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013</a:t>
                      </a: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年</a:t>
                      </a: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2</a:t>
                      </a: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月</a:t>
                      </a:r>
                      <a:endParaRPr lang="en-US" sz="1400" kern="1200" dirty="0">
                        <a:solidFill>
                          <a:schemeClr val="tx1"/>
                        </a:solidFill>
                        <a:highlight>
                          <a:srgbClr val="FFFFFF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2230309"/>
                  </a:ext>
                </a:extLst>
              </a:tr>
              <a:tr h="9573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目前大陆地区同通用名药品的</a:t>
                      </a:r>
                      <a:endParaRPr lang="en-US" altLang="zh-CN" sz="1400" b="0" kern="1200" dirty="0">
                        <a:solidFill>
                          <a:schemeClr val="tx1"/>
                        </a:solidFill>
                        <a:effectLst/>
                        <a:highlight>
                          <a:srgbClr val="FFFFFF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上市情况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zh-CN" altLang="en-US" sz="2400" b="1" dirty="0">
                          <a:solidFill>
                            <a:srgbClr val="B80065"/>
                          </a:solidFill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微软雅黑" panose="020B0503020204020204" pitchFamily="34" charset="-122"/>
                        </a:rPr>
                        <a:t>无</a:t>
                      </a:r>
                      <a:endParaRPr lang="en-US" sz="2400" b="1" dirty="0">
                        <a:solidFill>
                          <a:srgbClr val="B80065"/>
                        </a:solidFill>
                        <a:highlight>
                          <a:srgbClr val="FFFFFF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微软雅黑" panose="020B0503020204020204" pitchFamily="34" charset="-122"/>
                        </a:rPr>
                        <a:t>是否为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微软雅黑" panose="020B0503020204020204" pitchFamily="34" charset="-122"/>
                        </a:rPr>
                        <a:t>OTC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微软雅黑" panose="020B0503020204020204" pitchFamily="34" charset="-122"/>
                        </a:rPr>
                        <a:t>药品</a:t>
                      </a:r>
                      <a:endParaRPr lang="en-US" altLang="zh-CN" sz="1400" b="0" kern="1200" dirty="0">
                        <a:solidFill>
                          <a:schemeClr val="tx1"/>
                        </a:solidFill>
                        <a:effectLst/>
                        <a:highlight>
                          <a:srgbClr val="FFFFFF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highlight>
                            <a:srgbClr val="FFFFFF"/>
                          </a:highlight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微软雅黑" panose="020B0503020204020204" pitchFamily="34" charset="-122"/>
                        </a:rPr>
                        <a:t>否</a:t>
                      </a:r>
                      <a:endParaRPr lang="en-US" sz="1400" dirty="0">
                        <a:highlight>
                          <a:srgbClr val="FFFFFF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44F40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872539"/>
                  </a:ext>
                </a:extLst>
              </a:tr>
            </a:tbl>
          </a:graphicData>
        </a:graphic>
      </p:graphicFrame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08C3C24B-8EC6-96D5-0DFC-D7B295889A6E}"/>
              </a:ext>
            </a:extLst>
          </p:cNvPr>
          <p:cNvSpPr txBox="1">
            <a:spLocks/>
          </p:cNvSpPr>
          <p:nvPr/>
        </p:nvSpPr>
        <p:spPr>
          <a:xfrm>
            <a:off x="11085169" y="291666"/>
            <a:ext cx="110683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B757C5-390E-4F73-B9EE-AFB5DD47937F}" type="slidenum">
              <a:rPr lang="zh-CN" altLang="en-US" sz="1200" b="1" smtClean="0"/>
              <a:pPr/>
              <a:t>3</a:t>
            </a:fld>
            <a:endParaRPr lang="zh-CN" altLang="en-US" sz="1200" b="1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89E2D8EC-9B78-35C0-74B5-B5ED42E07F73}"/>
              </a:ext>
            </a:extLst>
          </p:cNvPr>
          <p:cNvSpPr/>
          <p:nvPr/>
        </p:nvSpPr>
        <p:spPr bwMode="auto">
          <a:xfrm>
            <a:off x="5748727" y="765692"/>
            <a:ext cx="6304045" cy="277867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72000" numCol="1" spcCol="0" rtlCol="0" fromWordArt="0" anchor="t" anchorCtr="0" forceAA="0" compatLnSpc="1">
            <a:noAutofit/>
          </a:bodyPr>
          <a:lstStyle/>
          <a:p>
            <a:pPr algn="l" eaLnBrk="0" hangingPunct="0">
              <a:lnSpc>
                <a:spcPct val="120000"/>
              </a:lnSpc>
              <a:buClr>
                <a:schemeClr val="bg1"/>
              </a:buClr>
            </a:pPr>
            <a:endParaRPr lang="en-US" sz="1200" kern="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E70FE6AE-7B31-48AE-42FC-6AFD06A1B8A5}"/>
              </a:ext>
            </a:extLst>
          </p:cNvPr>
          <p:cNvSpPr/>
          <p:nvPr/>
        </p:nvSpPr>
        <p:spPr bwMode="auto">
          <a:xfrm>
            <a:off x="5915611" y="1813464"/>
            <a:ext cx="3219326" cy="32456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72000" numCol="1" spcCol="0" rtlCol="0" fromWordArt="0" anchor="t" anchorCtr="0" forceAA="0" compatLnSpc="1">
            <a:noAutofit/>
          </a:bodyPr>
          <a:lstStyle/>
          <a:p>
            <a:pPr algn="l" eaLnBrk="0" hangingPunct="0">
              <a:lnSpc>
                <a:spcPct val="120000"/>
              </a:lnSpc>
              <a:buClr>
                <a:schemeClr val="bg1"/>
              </a:buClr>
            </a:pPr>
            <a:endParaRPr lang="en-US" sz="1200" kern="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EB9B469F-0C48-91B8-1696-A9B1BE0A24B4}"/>
              </a:ext>
            </a:extLst>
          </p:cNvPr>
          <p:cNvSpPr txBox="1"/>
          <p:nvPr/>
        </p:nvSpPr>
        <p:spPr>
          <a:xfrm>
            <a:off x="5954751" y="2138025"/>
            <a:ext cx="3217779" cy="14391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1400" kern="1200" dirty="0">
                <a:solidFill>
                  <a:schemeClr val="tx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本品具有长效支气管扩张作用，适用于</a:t>
            </a:r>
            <a:r>
              <a:rPr lang="zh-CN" altLang="en-US" sz="1600" b="1" kern="1200" dirty="0">
                <a:solidFill>
                  <a:srgbClr val="B80065"/>
                </a:solidFill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慢性阻塞性肺病</a:t>
            </a:r>
            <a:r>
              <a:rPr lang="zh-CN" altLang="en-US" sz="1400" kern="1200" dirty="0"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en-US" altLang="zh-CN" sz="1400" kern="1200" dirty="0"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PD</a:t>
            </a:r>
            <a:r>
              <a:rPr lang="zh-CN" altLang="en-US" sz="1400" kern="1200" dirty="0"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r>
              <a:rPr lang="zh-CN" altLang="en-US" sz="1600" kern="1200" dirty="0"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的长期维持治疗</a:t>
            </a:r>
            <a:r>
              <a:rPr lang="zh-CN" altLang="en-US" sz="1400" kern="1200" dirty="0">
                <a:solidFill>
                  <a:schemeClr val="tx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，一日一次用于缓解</a:t>
            </a:r>
            <a:r>
              <a:rPr lang="en-US" altLang="zh-CN" sz="1400" kern="1200" dirty="0">
                <a:solidFill>
                  <a:schemeClr val="tx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PD</a:t>
            </a:r>
            <a:r>
              <a:rPr lang="zh-CN" altLang="en-US" sz="1400" kern="1200" dirty="0">
                <a:solidFill>
                  <a:schemeClr val="tx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患者的症状。</a:t>
            </a:r>
            <a:endParaRPr lang="zh-CN" altLang="en-US" b="1" kern="1200" dirty="0">
              <a:solidFill>
                <a:srgbClr val="D25E97"/>
              </a:solidFill>
              <a:effectLst/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C88C927-6D7B-393C-0639-AE192B0259E0}"/>
              </a:ext>
            </a:extLst>
          </p:cNvPr>
          <p:cNvSpPr/>
          <p:nvPr/>
        </p:nvSpPr>
        <p:spPr bwMode="auto">
          <a:xfrm>
            <a:off x="9284510" y="1808295"/>
            <a:ext cx="2068954" cy="1265217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72000" numCol="1" spcCol="0" rtlCol="0" fromWordArt="0" anchor="t" anchorCtr="0" forceAA="0" compatLnSpc="1">
            <a:noAutofit/>
          </a:bodyPr>
          <a:lstStyle/>
          <a:p>
            <a:pPr algn="l" eaLnBrk="0" hangingPunct="0">
              <a:lnSpc>
                <a:spcPct val="120000"/>
              </a:lnSpc>
              <a:buClr>
                <a:schemeClr val="bg1"/>
              </a:buClr>
            </a:pPr>
            <a:endParaRPr lang="en-US" sz="1200" kern="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1B4A393E-8A3D-FE2B-8197-8E7D714A507A}"/>
              </a:ext>
            </a:extLst>
          </p:cNvPr>
          <p:cNvSpPr/>
          <p:nvPr/>
        </p:nvSpPr>
        <p:spPr bwMode="auto">
          <a:xfrm>
            <a:off x="9284510" y="1808295"/>
            <a:ext cx="2586925" cy="34322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72000" numCol="1" spcCol="0" rtlCol="0" fromWordArt="0" anchor="t" anchorCtr="0" forceAA="0" compatLnSpc="1">
            <a:noAutofit/>
          </a:bodyPr>
          <a:lstStyle/>
          <a:p>
            <a:pPr algn="l" eaLnBrk="0" hangingPunct="0">
              <a:lnSpc>
                <a:spcPct val="120000"/>
              </a:lnSpc>
              <a:buClr>
                <a:schemeClr val="bg1"/>
              </a:buClr>
            </a:pPr>
            <a:endParaRPr lang="en-US" sz="1200" kern="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62571C0-656F-8777-F649-32709AEBB47E}"/>
              </a:ext>
            </a:extLst>
          </p:cNvPr>
          <p:cNvSpPr txBox="1"/>
          <p:nvPr/>
        </p:nvSpPr>
        <p:spPr>
          <a:xfrm>
            <a:off x="9322103" y="2466608"/>
            <a:ext cx="257128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kern="1200" dirty="0">
                <a:solidFill>
                  <a:srgbClr val="B80065"/>
                </a:solidFill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限</a:t>
            </a:r>
            <a:r>
              <a:rPr lang="zh-CN" altLang="en-US" sz="2000" b="1" u="sng" kern="1200" dirty="0">
                <a:solidFill>
                  <a:srgbClr val="B80065"/>
                </a:solidFill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中重度</a:t>
            </a:r>
            <a:r>
              <a:rPr lang="zh-CN" altLang="en-US" sz="1600" b="1" kern="1200" dirty="0">
                <a:solidFill>
                  <a:srgbClr val="B80065"/>
                </a:solidFill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慢性阻塞性肺病。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C874D941-CECF-B5F2-6802-CDDA3AA77CF5}"/>
              </a:ext>
            </a:extLst>
          </p:cNvPr>
          <p:cNvSpPr txBox="1"/>
          <p:nvPr/>
        </p:nvSpPr>
        <p:spPr>
          <a:xfrm>
            <a:off x="9594858" y="1883487"/>
            <a:ext cx="2068954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tx1"/>
              </a:buClr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目前医保限制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55AC640D-4A5E-3191-5EFA-EA74E367D85C}"/>
              </a:ext>
            </a:extLst>
          </p:cNvPr>
          <p:cNvSpPr txBox="1"/>
          <p:nvPr/>
        </p:nvSpPr>
        <p:spPr>
          <a:xfrm>
            <a:off x="5657287" y="1864633"/>
            <a:ext cx="3314700" cy="2462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tx1"/>
              </a:buClr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适应症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55B93308-1FBB-F790-6246-8BA9A28DEE90}"/>
              </a:ext>
            </a:extLst>
          </p:cNvPr>
          <p:cNvSpPr txBox="1"/>
          <p:nvPr/>
        </p:nvSpPr>
        <p:spPr>
          <a:xfrm>
            <a:off x="6452961" y="922499"/>
            <a:ext cx="5418474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latin typeface="Times New Roman"/>
                <a:ea typeface="微软雅黑"/>
                <a:cs typeface="Times New Roman"/>
              </a:rPr>
              <a:t>本品目前医保支付范围与说明书适应症不一致。</a:t>
            </a:r>
            <a:endParaRPr lang="en-US" altLang="zh-CN" dirty="0">
              <a:latin typeface="Times New Roman"/>
              <a:ea typeface="微软雅黑"/>
              <a:cs typeface="Times New Roman"/>
            </a:endParaRPr>
          </a:p>
          <a:p>
            <a:pPr algn="ctr"/>
            <a:r>
              <a:rPr lang="zh-CN" altLang="en-US" sz="2400" b="1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本次申请去除医保限制，按说明书支付。</a:t>
            </a:r>
            <a:endParaRPr lang="en-US" sz="2400" b="1" dirty="0">
              <a:solidFill>
                <a:srgbClr val="B80065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AE8DD99A-276D-3151-DFE3-BDBF2A948A0D}"/>
              </a:ext>
            </a:extLst>
          </p:cNvPr>
          <p:cNvSpPr txBox="1"/>
          <p:nvPr/>
        </p:nvSpPr>
        <p:spPr>
          <a:xfrm>
            <a:off x="5915611" y="3600463"/>
            <a:ext cx="5975119" cy="24132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kern="1200" dirty="0"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参照药品建议：</a:t>
            </a:r>
            <a:r>
              <a:rPr lang="zh-CN" altLang="en-US" b="1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格隆溴铵福莫特罗</a:t>
            </a:r>
            <a:endParaRPr lang="en-US" altLang="zh-CN" b="1" dirty="0">
              <a:solidFill>
                <a:srgbClr val="B80065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微软雅黑" panose="020B0503020204020204" pitchFamily="34" charset="-122"/>
            </a:endParaRPr>
          </a:p>
          <a:p>
            <a:pPr>
              <a:lnSpc>
                <a:spcPct val="150000"/>
              </a:lnSpc>
              <a:spcBef>
                <a:spcPts val="300"/>
              </a:spcBef>
              <a:defRPr/>
            </a:pPr>
            <a:r>
              <a:rPr lang="zh-CN" altLang="en-US" sz="1400" kern="1200" dirty="0"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       理由：</a:t>
            </a:r>
            <a:r>
              <a:rPr lang="zh-CN" altLang="en-US" sz="1400" b="1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与本品适应症相同，参照药品</a:t>
            </a:r>
            <a:r>
              <a:rPr lang="zh-CN" altLang="en-US" sz="1400" b="1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医保支付范围与适应症一致。</a:t>
            </a:r>
            <a:endParaRPr lang="en-US" altLang="zh-CN" sz="1400" b="1" dirty="0">
              <a:solidFill>
                <a:srgbClr val="B80065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kern="1200" dirty="0"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与参照药品或已上市的同治疗领域药品（</a:t>
            </a:r>
            <a:r>
              <a:rPr lang="zh-CN" alt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格隆溴铵福莫特罗）</a:t>
            </a:r>
            <a:r>
              <a:rPr lang="zh-CN" altLang="en-US" sz="1400" kern="1200" dirty="0"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相比的优势和不足：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微软雅黑" panose="020B0503020204020204" pitchFamily="34" charset="-122"/>
            </a:endParaRPr>
          </a:p>
          <a:p>
            <a:pPr marL="628650" lvl="1" indent="-17145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Ø"/>
              <a:defRPr/>
            </a:pPr>
            <a:r>
              <a:rPr lang="zh-CN" altLang="en-US" sz="1200" kern="1200" dirty="0"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本品</a:t>
            </a:r>
            <a:r>
              <a:rPr lang="zh-CN" altLang="en-US" b="1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显著改善肺功能</a:t>
            </a:r>
            <a:r>
              <a:rPr lang="zh-CN" altLang="en-US" sz="1200" kern="1200" dirty="0"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，安全性相当；</a:t>
            </a:r>
            <a:endParaRPr lang="en-US" altLang="zh-CN" sz="1200" kern="1200" dirty="0">
              <a:effectLst/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微软雅黑" panose="020B0503020204020204" pitchFamily="34" charset="-122"/>
            </a:endParaRPr>
          </a:p>
          <a:p>
            <a:pPr marL="628650" lvl="1" indent="-17145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Ø"/>
              <a:defRPr/>
            </a:pP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本品具有</a:t>
            </a:r>
            <a:r>
              <a:rPr lang="zh-CN" altLang="en-US" b="1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绝对药物经济学优势</a:t>
            </a: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，即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QALY</a:t>
            </a: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更高，治疗总成本更低。</a:t>
            </a:r>
          </a:p>
        </p:txBody>
      </p:sp>
    </p:spTree>
    <p:extLst>
      <p:ext uri="{BB962C8B-B14F-4D97-AF65-F5344CB8AC3E}">
        <p14:creationId xmlns:p14="http://schemas.microsoft.com/office/powerpoint/2010/main" val="8525085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oup 2">
            <a:extLst>
              <a:ext uri="{FF2B5EF4-FFF2-40B4-BE49-F238E27FC236}">
                <a16:creationId xmlns:a16="http://schemas.microsoft.com/office/drawing/2014/main" id="{F9E95F6F-E53F-BFE3-F8DA-D94297CAAFAF}"/>
              </a:ext>
            </a:extLst>
          </p:cNvPr>
          <p:cNvGrpSpPr/>
          <p:nvPr/>
        </p:nvGrpSpPr>
        <p:grpSpPr>
          <a:xfrm>
            <a:off x="1224950" y="-30133"/>
            <a:ext cx="9609827" cy="646097"/>
            <a:chOff x="1224950" y="264034"/>
            <a:chExt cx="9609827" cy="646097"/>
          </a:xfrm>
        </p:grpSpPr>
        <p:sp>
          <p:nvSpPr>
            <p:cNvPr id="58" name="文本框 17">
              <a:extLst>
                <a:ext uri="{FF2B5EF4-FFF2-40B4-BE49-F238E27FC236}">
                  <a16:creationId xmlns:a16="http://schemas.microsoft.com/office/drawing/2014/main" id="{6B843450-9110-6FA7-164A-096E04697ECD}"/>
                </a:ext>
              </a:extLst>
            </p:cNvPr>
            <p:cNvSpPr txBox="1"/>
            <p:nvPr/>
          </p:nvSpPr>
          <p:spPr>
            <a:xfrm>
              <a:off x="3305714" y="264034"/>
              <a:ext cx="54483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1" i="0" u="none" strike="noStrike" kern="0" cap="none" spc="0" normalizeH="0" baseline="0" noProof="0" dirty="0">
                  <a:ln>
                    <a:gradFill>
                      <a:gsLst>
                        <a:gs pos="0">
                          <a:srgbClr val="E4401D"/>
                        </a:gs>
                        <a:gs pos="88000">
                          <a:srgbClr val="F9C235">
                            <a:alpha val="0"/>
                          </a:srgbClr>
                        </a:gs>
                      </a:gsLst>
                      <a:lin ang="5400000" scaled="1"/>
                    </a:gradFill>
                  </a:ln>
                  <a:solidFill>
                    <a:srgbClr val="B8006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1</a:t>
              </a:r>
              <a:endParaRPr kumimoji="0" lang="zh-CN" altLang="en-US" sz="2000" b="1" i="0" u="none" strike="noStrike" kern="0" cap="none" spc="0" normalizeH="0" baseline="0" noProof="0" dirty="0">
                <a:ln>
                  <a:gradFill>
                    <a:gsLst>
                      <a:gs pos="0">
                        <a:srgbClr val="E4401D"/>
                      </a:gs>
                      <a:gs pos="88000">
                        <a:srgbClr val="F9C235">
                          <a:alpha val="0"/>
                        </a:srgbClr>
                      </a:gs>
                    </a:gsLst>
                    <a:lin ang="5400000" scaled="1"/>
                  </a:gradFill>
                </a:ln>
                <a:solidFill>
                  <a:srgbClr val="B80065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endParaRPr>
            </a:p>
          </p:txBody>
        </p:sp>
        <p:grpSp>
          <p:nvGrpSpPr>
            <p:cNvPr id="59" name="组合 58">
              <a:extLst>
                <a:ext uri="{FF2B5EF4-FFF2-40B4-BE49-F238E27FC236}">
                  <a16:creationId xmlns:a16="http://schemas.microsoft.com/office/drawing/2014/main" id="{CE53A0DA-121E-F10A-0AF1-9AFA8D0AC390}"/>
                </a:ext>
              </a:extLst>
            </p:cNvPr>
            <p:cNvGrpSpPr/>
            <p:nvPr/>
          </p:nvGrpSpPr>
          <p:grpSpPr>
            <a:xfrm>
              <a:off x="1224950" y="602354"/>
              <a:ext cx="9609827" cy="307777"/>
              <a:chOff x="607784" y="3405939"/>
              <a:chExt cx="10976432" cy="307777"/>
            </a:xfrm>
          </p:grpSpPr>
          <p:sp>
            <p:nvSpPr>
              <p:cNvPr id="60" name="文本框 14">
                <a:extLst>
                  <a:ext uri="{FF2B5EF4-FFF2-40B4-BE49-F238E27FC236}">
                    <a16:creationId xmlns:a16="http://schemas.microsoft.com/office/drawing/2014/main" id="{FE10A073-1FF4-2882-32FA-12111622106A}"/>
                  </a:ext>
                </a:extLst>
              </p:cNvPr>
              <p:cNvSpPr txBox="1"/>
              <p:nvPr/>
            </p:nvSpPr>
            <p:spPr>
              <a:xfrm>
                <a:off x="5443373" y="3405939"/>
                <a:ext cx="1347591" cy="307777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b="1" i="0" u="none" strike="noStrike" kern="0" cap="none" spc="300" normalizeH="0" baseline="0" noProof="0" dirty="0">
                    <a:ln>
                      <a:noFill/>
                    </a:ln>
                    <a:solidFill>
                      <a:srgbClr val="B80065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疾病介绍</a:t>
                </a:r>
              </a:p>
            </p:txBody>
          </p:sp>
          <p:cxnSp>
            <p:nvCxnSpPr>
              <p:cNvPr id="61" name="直接连接符 18">
                <a:extLst>
                  <a:ext uri="{FF2B5EF4-FFF2-40B4-BE49-F238E27FC236}">
                    <a16:creationId xmlns:a16="http://schemas.microsoft.com/office/drawing/2014/main" id="{73DA8D93-E520-2F75-9A89-A5E64213C2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06916" y="3571981"/>
                <a:ext cx="3077300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62" name="直接连接符 19">
                <a:extLst>
                  <a:ext uri="{FF2B5EF4-FFF2-40B4-BE49-F238E27FC236}">
                    <a16:creationId xmlns:a16="http://schemas.microsoft.com/office/drawing/2014/main" id="{9414A519-C5B2-96AD-B048-A8C74210F7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7784" y="3571981"/>
                <a:ext cx="2929046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</p:grpSp>
      </p:grp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ED6B02D1-E0A4-4C39-1E66-7A8DADE91F73}"/>
              </a:ext>
            </a:extLst>
          </p:cNvPr>
          <p:cNvSpPr txBox="1">
            <a:spLocks/>
          </p:cNvSpPr>
          <p:nvPr/>
        </p:nvSpPr>
        <p:spPr>
          <a:xfrm>
            <a:off x="11077144" y="135784"/>
            <a:ext cx="110683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B757C5-390E-4F73-B9EE-AFB5DD47937F}" type="slidenum">
              <a:rPr lang="zh-CN" altLang="en-US" sz="1200" b="1" smtClean="0"/>
              <a:pPr/>
              <a:t>4</a:t>
            </a:fld>
            <a:endParaRPr lang="zh-CN" altLang="en-US" sz="1200" b="1"/>
          </a:p>
        </p:txBody>
      </p:sp>
      <p:graphicFrame>
        <p:nvGraphicFramePr>
          <p:cNvPr id="6" name="表格 6">
            <a:extLst>
              <a:ext uri="{FF2B5EF4-FFF2-40B4-BE49-F238E27FC236}">
                <a16:creationId xmlns:a16="http://schemas.microsoft.com/office/drawing/2014/main" id="{747CCF57-ACF1-AED0-150C-858C60212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94053"/>
              </p:ext>
            </p:extLst>
          </p:nvPr>
        </p:nvGraphicFramePr>
        <p:xfrm>
          <a:off x="228600" y="786150"/>
          <a:ext cx="11607800" cy="51240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03240">
                  <a:extLst>
                    <a:ext uri="{9D8B030D-6E8A-4147-A177-3AD203B41FA5}">
                      <a16:colId xmlns:a16="http://schemas.microsoft.com/office/drawing/2014/main" val="2989176650"/>
                    </a:ext>
                  </a:extLst>
                </a:gridCol>
                <a:gridCol w="335280">
                  <a:extLst>
                    <a:ext uri="{9D8B030D-6E8A-4147-A177-3AD203B41FA5}">
                      <a16:colId xmlns:a16="http://schemas.microsoft.com/office/drawing/2014/main" val="1136079436"/>
                    </a:ext>
                  </a:extLst>
                </a:gridCol>
                <a:gridCol w="5669280">
                  <a:extLst>
                    <a:ext uri="{9D8B030D-6E8A-4147-A177-3AD203B41FA5}">
                      <a16:colId xmlns:a16="http://schemas.microsoft.com/office/drawing/2014/main" val="3929261071"/>
                    </a:ext>
                  </a:extLst>
                </a:gridCol>
              </a:tblGrid>
              <a:tr h="716621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疾病的基本情况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临床未满足的需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874974"/>
                  </a:ext>
                </a:extLst>
              </a:tr>
              <a:tr h="4407449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zh-CN" sz="2000" dirty="0">
                        <a:solidFill>
                          <a:srgbClr val="262626"/>
                        </a:solidFill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20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lt"/>
                        </a:rPr>
                        <a:t>中国</a:t>
                      </a:r>
                      <a:r>
                        <a:rPr lang="zh-CN" altLang="en-US" sz="2000" kern="12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/>
                          <a:cs typeface="Times New Roman" panose="02020603050405020304" pitchFamily="18" charset="0"/>
                        </a:rPr>
                        <a:t>≥</a:t>
                      </a:r>
                      <a:r>
                        <a:rPr lang="en-US" altLang="zh-CN" sz="2000" kern="12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/>
                          <a:cs typeface="Times New Roman" panose="02020603050405020304" pitchFamily="18" charset="0"/>
                        </a:rPr>
                        <a:t>20</a:t>
                      </a:r>
                      <a:r>
                        <a:rPr lang="zh-CN" altLang="en-US" sz="2000" kern="12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/>
                          <a:cs typeface="Times New Roman" panose="02020603050405020304" pitchFamily="18" charset="0"/>
                        </a:rPr>
                        <a:t>岁成人慢性阻塞性肺病（慢阻肺）患病率为</a:t>
                      </a:r>
                      <a:r>
                        <a:rPr lang="en-US" altLang="zh-CN" sz="2000" kern="12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/>
                          <a:cs typeface="Times New Roman" panose="02020603050405020304" pitchFamily="18" charset="0"/>
                        </a:rPr>
                        <a:t>8.6%</a:t>
                      </a:r>
                      <a:r>
                        <a:rPr lang="zh-CN" altLang="en-US" sz="2000" kern="12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/>
                          <a:cs typeface="Times New Roman" panose="02020603050405020304" pitchFamily="18" charset="0"/>
                        </a:rPr>
                        <a:t>，估算我国</a:t>
                      </a:r>
                      <a:r>
                        <a:rPr lang="zh-CN" altLang="en-US" sz="2000" kern="12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/>
                          <a:cs typeface="Times New Roman" panose="02020603050405020304" pitchFamily="18" charset="0"/>
                          <a:sym typeface="+mn-lt"/>
                        </a:rPr>
                        <a:t>慢</a:t>
                      </a:r>
                      <a:r>
                        <a:rPr lang="zh-CN" altLang="en-US" sz="20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lt"/>
                        </a:rPr>
                        <a:t>阻肺患病人数接近</a:t>
                      </a:r>
                      <a:r>
                        <a:rPr lang="en-US" altLang="zh-CN" sz="20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lt"/>
                        </a:rPr>
                        <a:t>1</a:t>
                      </a:r>
                      <a:r>
                        <a:rPr lang="zh-CN" altLang="en-US" sz="20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lt"/>
                        </a:rPr>
                        <a:t>亿</a:t>
                      </a:r>
                      <a:r>
                        <a:rPr lang="zh-CN" altLang="en-US" sz="2000" baseline="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  <a:sym typeface="+mn-lt"/>
                        </a:rPr>
                        <a:t>。</a:t>
                      </a:r>
                      <a:r>
                        <a:rPr lang="zh-CN" altLang="en-US" sz="2000" b="1" kern="1200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/>
                          <a:cs typeface="Times New Roman" panose="02020603050405020304" pitchFamily="18" charset="0"/>
                        </a:rPr>
                        <a:t>年发病患者总数约为</a:t>
                      </a:r>
                      <a:r>
                        <a:rPr lang="en-US" altLang="zh-CN" sz="2000" b="1" kern="1200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/>
                          <a:cs typeface="Times New Roman" panose="02020603050405020304" pitchFamily="18" charset="0"/>
                        </a:rPr>
                        <a:t>397</a:t>
                      </a:r>
                      <a:r>
                        <a:rPr lang="zh-CN" altLang="en-US" sz="2000" b="1" kern="1200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/>
                          <a:cs typeface="Times New Roman" panose="02020603050405020304" pitchFamily="18" charset="0"/>
                        </a:rPr>
                        <a:t>万</a:t>
                      </a:r>
                      <a:r>
                        <a:rPr lang="zh-CN" altLang="en-US" sz="20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/>
                          <a:cs typeface="Times New Roman" panose="02020603050405020304" pitchFamily="18" charset="0"/>
                        </a:rPr>
                        <a:t>，其中</a:t>
                      </a:r>
                      <a:r>
                        <a:rPr lang="zh-CN" altLang="en-US" sz="2000" b="1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/>
                          <a:cs typeface="Times New Roman" panose="02020603050405020304" pitchFamily="18" charset="0"/>
                        </a:rPr>
                        <a:t>轻度慢阻肺患者占比约为</a:t>
                      </a:r>
                      <a:r>
                        <a:rPr lang="en-US" altLang="zh-CN" sz="2000" b="1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/>
                          <a:cs typeface="Times New Roman" panose="02020603050405020304" pitchFamily="18" charset="0"/>
                        </a:rPr>
                        <a:t>10%</a:t>
                      </a:r>
                      <a:r>
                        <a:rPr lang="zh-CN" altLang="en-US" sz="2000" b="1" kern="1200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/>
                          <a:cs typeface="Times New Roman" panose="02020603050405020304" pitchFamily="18" charset="0"/>
                        </a:rPr>
                        <a:t>。</a:t>
                      </a:r>
                      <a:endParaRPr lang="en-US" altLang="zh-CN" sz="2000" b="1" kern="1200" dirty="0">
                        <a:solidFill>
                          <a:srgbClr val="B80065"/>
                        </a:solidFill>
                        <a:latin typeface="Times New Roman" panose="02020603050405020304" pitchFamily="18" charset="0"/>
                        <a:ea typeface="微软雅黑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8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轻度患者通常起始使用单支扩剂进行治疗，然而，</a:t>
                      </a:r>
                      <a:r>
                        <a:rPr lang="zh-CN" altLang="en-US" sz="1800" b="1" kern="1200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经单支扩剂治疗后仍有超过 </a:t>
                      </a:r>
                      <a:r>
                        <a:rPr lang="en-US" altLang="zh-CN" sz="1800" b="1" kern="1200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50</a:t>
                      </a:r>
                      <a:r>
                        <a:rPr lang="zh-CN" altLang="en-US" sz="1800" b="1" kern="1200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％ 的患者持续出现呼吸困难症状</a:t>
                      </a:r>
                      <a:r>
                        <a:rPr lang="zh-CN" altLang="en-US" sz="1800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。</a:t>
                      </a:r>
                      <a:endParaRPr lang="en-US" altLang="zh-CN" sz="1800" dirty="0">
                        <a:solidFill>
                          <a:srgbClr val="262626"/>
                        </a:solidFill>
                        <a:highlight>
                          <a:srgbClr val="FFFF00"/>
                        </a:highlight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8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023</a:t>
                      </a:r>
                      <a:r>
                        <a:rPr lang="zh-CN" altLang="en-US" sz="18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年版慢性阻塞性肺疾病全球倡议 </a:t>
                      </a:r>
                      <a:r>
                        <a:rPr lang="en-US" altLang="zh-CN" sz="18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altLang="zh-CN" sz="1800" b="1" kern="1200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GOLD</a:t>
                      </a:r>
                      <a:r>
                        <a:rPr lang="en-US" altLang="zh-CN" sz="18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)</a:t>
                      </a:r>
                      <a:r>
                        <a:rPr lang="en-US" altLang="zh-CN" sz="1800" baseline="300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zh-CN" altLang="en-US" sz="1800" b="1" kern="1200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推荐双支扩剂</a:t>
                      </a:r>
                      <a:r>
                        <a:rPr lang="zh-CN" altLang="en-US" sz="18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作为慢阻肺治疗的基石，不再推荐单支扩剂。</a:t>
                      </a:r>
                      <a:r>
                        <a:rPr lang="zh-CN" altLang="en-US" sz="1800" b="1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本品是</a:t>
                      </a:r>
                      <a:r>
                        <a:rPr lang="zh-CN" altLang="en-US" sz="1800" b="1" dirty="0">
                          <a:solidFill>
                            <a:srgbClr val="B80065"/>
                          </a:solidFill>
                          <a:latin typeface="Times New Roman"/>
                          <a:ea typeface="微软雅黑"/>
                          <a:cs typeface="Times New Roman"/>
                        </a:rPr>
                        <a:t>双支扩剂中改善肺功能的最优选择，</a:t>
                      </a:r>
                      <a:r>
                        <a:rPr lang="zh-CN" altLang="en-US" sz="1800" kern="12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也能够显著降低急性加重风险。</a:t>
                      </a:r>
                      <a:endParaRPr lang="en-US" sz="1800" kern="1200" dirty="0">
                        <a:solidFill>
                          <a:srgbClr val="262626"/>
                        </a:solidFill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06851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64647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">
            <a:extLst>
              <a:ext uri="{FF2B5EF4-FFF2-40B4-BE49-F238E27FC236}">
                <a16:creationId xmlns:a16="http://schemas.microsoft.com/office/drawing/2014/main" id="{D4EEB48E-6171-FB2B-6EE5-6DEBBEDDA3A3}"/>
              </a:ext>
            </a:extLst>
          </p:cNvPr>
          <p:cNvGrpSpPr/>
          <p:nvPr/>
        </p:nvGrpSpPr>
        <p:grpSpPr>
          <a:xfrm>
            <a:off x="1224950" y="-30133"/>
            <a:ext cx="9609827" cy="658979"/>
            <a:chOff x="1224950" y="264034"/>
            <a:chExt cx="9609827" cy="658979"/>
          </a:xfrm>
        </p:grpSpPr>
        <p:sp>
          <p:nvSpPr>
            <p:cNvPr id="7" name="文本框 17">
              <a:extLst>
                <a:ext uri="{FF2B5EF4-FFF2-40B4-BE49-F238E27FC236}">
                  <a16:creationId xmlns:a16="http://schemas.microsoft.com/office/drawing/2014/main" id="{7EFB32AC-A07F-2935-FE65-0A37A5FC853F}"/>
                </a:ext>
              </a:extLst>
            </p:cNvPr>
            <p:cNvSpPr txBox="1"/>
            <p:nvPr/>
          </p:nvSpPr>
          <p:spPr>
            <a:xfrm>
              <a:off x="3305714" y="264034"/>
              <a:ext cx="54483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1" i="0" u="none" strike="noStrike" kern="0" cap="none" spc="0" normalizeH="0" baseline="0" noProof="0" dirty="0">
                  <a:ln>
                    <a:gradFill>
                      <a:gsLst>
                        <a:gs pos="0">
                          <a:srgbClr val="E4401D"/>
                        </a:gs>
                        <a:gs pos="88000">
                          <a:srgbClr val="F9C235">
                            <a:alpha val="0"/>
                          </a:srgbClr>
                        </a:gs>
                      </a:gsLst>
                      <a:lin ang="5400000" scaled="1"/>
                    </a:gradFill>
                  </a:ln>
                  <a:solidFill>
                    <a:srgbClr val="B80065"/>
                  </a:solidFill>
                  <a:effectLst/>
                  <a:uLnTx/>
                  <a:uFillTx/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  <a:sym typeface="微软雅黑" panose="020B0503020204020204" pitchFamily="34" charset="-122"/>
                </a:rPr>
                <a:t>02</a:t>
              </a:r>
              <a:endParaRPr kumimoji="0" lang="zh-CN" altLang="en-US" sz="2000" b="1" i="0" u="none" strike="noStrike" kern="0" cap="none" spc="0" normalizeH="0" baseline="0" noProof="0" dirty="0">
                <a:ln>
                  <a:gradFill>
                    <a:gsLst>
                      <a:gs pos="0">
                        <a:srgbClr val="E4401D"/>
                      </a:gs>
                      <a:gs pos="88000">
                        <a:srgbClr val="F9C235">
                          <a:alpha val="0"/>
                        </a:srgbClr>
                      </a:gs>
                    </a:gsLst>
                    <a:lin ang="5400000" scaled="1"/>
                  </a:gradFill>
                </a:ln>
                <a:solidFill>
                  <a:srgbClr val="B80065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endParaRPr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2BE4E4AC-B6AE-7E04-4554-B41EA69C6F35}"/>
                </a:ext>
              </a:extLst>
            </p:cNvPr>
            <p:cNvGrpSpPr/>
            <p:nvPr/>
          </p:nvGrpSpPr>
          <p:grpSpPr>
            <a:xfrm>
              <a:off x="1224950" y="615236"/>
              <a:ext cx="9609827" cy="307777"/>
              <a:chOff x="607784" y="3418821"/>
              <a:chExt cx="10976432" cy="307777"/>
            </a:xfrm>
          </p:grpSpPr>
          <p:sp>
            <p:nvSpPr>
              <p:cNvPr id="9" name="文本框 14">
                <a:extLst>
                  <a:ext uri="{FF2B5EF4-FFF2-40B4-BE49-F238E27FC236}">
                    <a16:creationId xmlns:a16="http://schemas.microsoft.com/office/drawing/2014/main" id="{9977D14D-49D3-B4B4-9F38-25E012A3E202}"/>
                  </a:ext>
                </a:extLst>
              </p:cNvPr>
              <p:cNvSpPr txBox="1"/>
              <p:nvPr/>
            </p:nvSpPr>
            <p:spPr>
              <a:xfrm>
                <a:off x="5471855" y="3418821"/>
                <a:ext cx="1204771" cy="30777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b="1" i="0" u="none" strike="noStrike" kern="0" cap="none" spc="300" normalizeH="0" baseline="0" noProof="0" dirty="0">
                    <a:ln>
                      <a:noFill/>
                    </a:ln>
                    <a:solidFill>
                      <a:srgbClr val="B80065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  <a:sym typeface="微软雅黑" panose="020B0503020204020204" pitchFamily="34" charset="-122"/>
                  </a:rPr>
                  <a:t>安全性</a:t>
                </a:r>
              </a:p>
            </p:txBody>
          </p:sp>
          <p:cxnSp>
            <p:nvCxnSpPr>
              <p:cNvPr id="10" name="直接连接符 18">
                <a:extLst>
                  <a:ext uri="{FF2B5EF4-FFF2-40B4-BE49-F238E27FC236}">
                    <a16:creationId xmlns:a16="http://schemas.microsoft.com/office/drawing/2014/main" id="{F65CB949-241D-7F5F-86B1-020EE60391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06916" y="3452239"/>
                <a:ext cx="3077300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" name="直接连接符 19">
                <a:extLst>
                  <a:ext uri="{FF2B5EF4-FFF2-40B4-BE49-F238E27FC236}">
                    <a16:creationId xmlns:a16="http://schemas.microsoft.com/office/drawing/2014/main" id="{AD221E28-5C59-A21E-70E1-3AE9BB9E09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7784" y="3452239"/>
                <a:ext cx="2929046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</p:grpSp>
      </p:grpSp>
      <p:sp>
        <p:nvSpPr>
          <p:cNvPr id="13" name="灯片编号占位符 2">
            <a:extLst>
              <a:ext uri="{FF2B5EF4-FFF2-40B4-BE49-F238E27FC236}">
                <a16:creationId xmlns:a16="http://schemas.microsoft.com/office/drawing/2014/main" id="{60B5E4A6-3085-1407-906D-35B99655CDAB}"/>
              </a:ext>
            </a:extLst>
          </p:cNvPr>
          <p:cNvSpPr txBox="1">
            <a:spLocks/>
          </p:cNvSpPr>
          <p:nvPr/>
        </p:nvSpPr>
        <p:spPr>
          <a:xfrm>
            <a:off x="8692595" y="244904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C04E2017-3AF6-9241-96CC-A479AC85056C}" type="slidenum">
              <a:rPr kumimoji="1" lang="zh-CN" altLang="en-US" sz="1200" b="1" smtClean="0">
                <a:solidFill>
                  <a:prstClr val="black"/>
                </a:solidFill>
                <a:latin typeface="Arial" panose="020B0604020202020204" pitchFamily="34" charset="0"/>
                <a:ea typeface="Microsoft YaHei" panose="020B0503020204020204" pitchFamily="34" charset="-122"/>
              </a:rPr>
              <a:pPr algn="r">
                <a:defRPr/>
              </a:pPr>
              <a:t>5</a:t>
            </a:fld>
            <a:endParaRPr kumimoji="1" lang="zh-CN" altLang="en-US" sz="1200" b="1" dirty="0">
              <a:solidFill>
                <a:prstClr val="black"/>
              </a:solidFill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graphicFrame>
        <p:nvGraphicFramePr>
          <p:cNvPr id="2" name="表格 2">
            <a:extLst>
              <a:ext uri="{FF2B5EF4-FFF2-40B4-BE49-F238E27FC236}">
                <a16:creationId xmlns:a16="http://schemas.microsoft.com/office/drawing/2014/main" id="{0825671B-B2C5-0190-6C87-5DA8CE4FFA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7314668"/>
              </p:ext>
            </p:extLst>
          </p:nvPr>
        </p:nvGraphicFramePr>
        <p:xfrm>
          <a:off x="249555" y="1159619"/>
          <a:ext cx="11692890" cy="453876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20809">
                  <a:extLst>
                    <a:ext uri="{9D8B030D-6E8A-4147-A177-3AD203B41FA5}">
                      <a16:colId xmlns:a16="http://schemas.microsoft.com/office/drawing/2014/main" val="592985242"/>
                    </a:ext>
                  </a:extLst>
                </a:gridCol>
                <a:gridCol w="9572081">
                  <a:extLst>
                    <a:ext uri="{9D8B030D-6E8A-4147-A177-3AD203B41FA5}">
                      <a16:colId xmlns:a16="http://schemas.microsoft.com/office/drawing/2014/main" val="2319469193"/>
                    </a:ext>
                  </a:extLst>
                </a:gridCol>
              </a:tblGrid>
              <a:tr h="1357889">
                <a:tc>
                  <a:txBody>
                    <a:bodyPr/>
                    <a:lstStyle/>
                    <a:p>
                      <a:r>
                        <a:rPr lang="zh-CN" altLang="en-US" sz="2000" b="0" dirty="0">
                          <a:solidFill>
                            <a:schemeClr val="tx1"/>
                          </a:solidFill>
                        </a:rPr>
                        <a:t>说明书收载的安全性信息</a:t>
                      </a:r>
                      <a:endParaRPr lang="en-US" sz="2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说明书中最常报告的不良反应是鼻咽炎（</a:t>
                      </a:r>
                      <a:r>
                        <a:rPr lang="en-US" altLang="zh-CN" sz="20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9%</a:t>
                      </a:r>
                      <a:r>
                        <a:rPr lang="zh-CN" altLang="en-US" sz="20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）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2417158"/>
                  </a:ext>
                </a:extLst>
              </a:tr>
              <a:tr h="1514521">
                <a:tc>
                  <a:txBody>
                    <a:bodyPr/>
                    <a:lstStyle/>
                    <a:p>
                      <a:r>
                        <a:rPr lang="zh-CN" altLang="en-US" sz="2000" b="0" dirty="0">
                          <a:solidFill>
                            <a:schemeClr val="tx1"/>
                          </a:solidFill>
                        </a:rPr>
                        <a:t>国内外不良反应发生情况</a:t>
                      </a:r>
                      <a:endParaRPr lang="en-US" sz="2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kumimoji="0" lang="zh-CN" alt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目前已上市国家尚</a:t>
                      </a:r>
                      <a:r>
                        <a:rPr lang="zh-CN" altLang="en-US" sz="2000" b="1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无任何安全性警告、黑框警告及因安全性问题撤市</a:t>
                      </a:r>
                      <a:r>
                        <a:rPr kumimoji="0" lang="zh-CN" alt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信息。</a:t>
                      </a:r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6506385"/>
                  </a:ext>
                </a:extLst>
              </a:tr>
              <a:tr h="1666352">
                <a:tc>
                  <a:txBody>
                    <a:bodyPr/>
                    <a:lstStyle/>
                    <a:p>
                      <a:r>
                        <a:rPr lang="zh-CN" altLang="en-US" sz="2000" b="0" dirty="0">
                          <a:solidFill>
                            <a:schemeClr val="tx1"/>
                          </a:solidFill>
                        </a:rPr>
                        <a:t>临床试验中安全性方面优势</a:t>
                      </a:r>
                      <a:endParaRPr lang="en-US" sz="2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zh-CN" sz="1800" dirty="0"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相比参照药品治疗相关不良反应发生率</a:t>
                      </a:r>
                      <a:r>
                        <a:rPr lang="zh-CN" altLang="en-US" sz="2000" b="1" kern="1200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相当</a:t>
                      </a:r>
                      <a:r>
                        <a:rPr lang="zh-CN" altLang="en-US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（本品 </a:t>
                      </a:r>
                      <a:r>
                        <a:rPr lang="en-US" altLang="zh-CN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vs. </a:t>
                      </a:r>
                      <a:r>
                        <a:rPr lang="zh-CN" altLang="en-US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参照药品：</a:t>
                      </a:r>
                      <a:r>
                        <a:rPr lang="en-US" altLang="zh-CN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0.5% vs. 1.3%</a:t>
                      </a:r>
                      <a:r>
                        <a:rPr lang="zh-CN" altLang="en-US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）。</a:t>
                      </a:r>
                      <a:endParaRPr lang="en-US" sz="1800" dirty="0"/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8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相比单支扩剂，本品</a:t>
                      </a:r>
                      <a:r>
                        <a:rPr lang="zh-CN" altLang="en-US" sz="2000" b="1" dirty="0">
                          <a:solidFill>
                            <a:srgbClr val="B80065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肺炎发生次数更少</a:t>
                      </a:r>
                      <a:r>
                        <a:rPr lang="zh-CN" altLang="en-US" sz="18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（</a:t>
                      </a:r>
                      <a:r>
                        <a:rPr lang="zh-CN" altLang="en-US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本品</a:t>
                      </a:r>
                      <a:r>
                        <a:rPr lang="en-US" altLang="zh-CN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 vs.</a:t>
                      </a:r>
                      <a:r>
                        <a:rPr lang="zh-CN" altLang="en-US" sz="18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乌美溴铵：</a:t>
                      </a:r>
                      <a:r>
                        <a:rPr lang="en-US" altLang="zh-CN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6</a:t>
                      </a:r>
                      <a:r>
                        <a:rPr lang="zh-CN" altLang="en-US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vs. 25/</a:t>
                      </a:r>
                      <a:r>
                        <a:rPr lang="zh-CN" altLang="en-US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每</a:t>
                      </a:r>
                      <a:r>
                        <a:rPr lang="en-US" altLang="zh-CN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000</a:t>
                      </a:r>
                      <a:r>
                        <a:rPr lang="zh-CN" altLang="en-US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人</a:t>
                      </a:r>
                      <a:r>
                        <a:rPr lang="en-US" altLang="zh-CN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zh-CN" altLang="en-US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年）</a:t>
                      </a:r>
                      <a:r>
                        <a:rPr lang="en-US" altLang="zh-CN" sz="1800" dirty="0"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zh-CN" altLang="en-US" sz="1800" dirty="0">
                          <a:solidFill>
                            <a:srgbClr val="262626"/>
                          </a:solidFill>
                          <a:latin typeface="Times New Roman" panose="02020603050405020304" pitchFamily="18" charset="0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。</a:t>
                      </a:r>
                      <a:endParaRPr lang="en-US" altLang="zh-CN" sz="1800" dirty="0">
                        <a:solidFill>
                          <a:srgbClr val="262626"/>
                        </a:solidFill>
                        <a:latin typeface="Times New Roman" panose="02020603050405020304" pitchFamily="18" charset="0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5537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15062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822CC3EB-F843-617C-5FB7-4DBF3C344041}"/>
              </a:ext>
            </a:extLst>
          </p:cNvPr>
          <p:cNvSpPr/>
          <p:nvPr/>
        </p:nvSpPr>
        <p:spPr bwMode="auto">
          <a:xfrm>
            <a:off x="311760" y="4023049"/>
            <a:ext cx="11757256" cy="17820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72000" numCol="1" spcCol="0" rtlCol="0" fromWordArt="0" anchor="t" anchorCtr="0" forceAA="0" compatLnSpc="1">
            <a:noAutofit/>
          </a:bodyPr>
          <a:lstStyle/>
          <a:p>
            <a:pPr algn="l" eaLnBrk="0" hangingPunct="0">
              <a:lnSpc>
                <a:spcPct val="120000"/>
              </a:lnSpc>
              <a:buClr>
                <a:schemeClr val="bg1"/>
              </a:buClr>
            </a:pPr>
            <a:endParaRPr lang="en-US" sz="1200" kern="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9657535-1028-1385-0F0B-311F2145849A}"/>
              </a:ext>
            </a:extLst>
          </p:cNvPr>
          <p:cNvSpPr txBox="1">
            <a:spLocks/>
          </p:cNvSpPr>
          <p:nvPr/>
        </p:nvSpPr>
        <p:spPr>
          <a:xfrm>
            <a:off x="442743" y="656073"/>
            <a:ext cx="10480336" cy="69850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3200" b="1" kern="1200">
                <a:solidFill>
                  <a:srgbClr val="6121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43F1C"/>
              </a:buClr>
              <a:buSzPct val="100000"/>
              <a:tabLst/>
              <a:defRPr/>
            </a:pPr>
            <a:r>
              <a:rPr lang="zh-CN" alt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国内外权威指南均</a:t>
            </a:r>
            <a:r>
              <a:rPr lang="zh-CN" altLang="en-US" sz="2800" dirty="0">
                <a:solidFill>
                  <a:srgbClr val="B80065"/>
                </a:solidFill>
                <a:cs typeface="Times New Roman" panose="02020603050405020304" pitchFamily="18" charset="0"/>
              </a:rPr>
              <a:t>推荐</a:t>
            </a:r>
            <a:r>
              <a:rPr lang="zh-CN" alt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双支扩剂作为稳定期</a:t>
            </a:r>
            <a:r>
              <a:rPr lang="zh-CN" altLang="en-US" sz="2800" dirty="0">
                <a:solidFill>
                  <a:srgbClr val="B80065"/>
                </a:solidFill>
                <a:cs typeface="Times New Roman" panose="02020603050405020304" pitchFamily="18" charset="0"/>
              </a:rPr>
              <a:t>初始维持治疗</a:t>
            </a:r>
            <a:r>
              <a:rPr lang="zh-CN" alt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选择</a:t>
            </a:r>
          </a:p>
        </p:txBody>
      </p:sp>
      <p:sp>
        <p:nvSpPr>
          <p:cNvPr id="25" name="文本占位符 15">
            <a:extLst>
              <a:ext uri="{FF2B5EF4-FFF2-40B4-BE49-F238E27FC236}">
                <a16:creationId xmlns:a16="http://schemas.microsoft.com/office/drawing/2014/main" id="{8490CD0D-A7C3-286E-65A6-79CE9495C31D}"/>
              </a:ext>
            </a:extLst>
          </p:cNvPr>
          <p:cNvSpPr txBox="1"/>
          <p:nvPr/>
        </p:nvSpPr>
        <p:spPr>
          <a:xfrm>
            <a:off x="2169974" y="481473"/>
            <a:ext cx="8040828" cy="69850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rgbClr val="C1056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1" i="0" u="none" strike="noStrike" kern="1200" cap="none" spc="0" normalizeH="0" baseline="0" noProof="0">
              <a:ln>
                <a:noFill/>
              </a:ln>
              <a:solidFill>
                <a:srgbClr val="C1056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26" name="Group 2">
            <a:extLst>
              <a:ext uri="{FF2B5EF4-FFF2-40B4-BE49-F238E27FC236}">
                <a16:creationId xmlns:a16="http://schemas.microsoft.com/office/drawing/2014/main" id="{1CFD5D4C-EFAE-1076-FB26-72D29F8EC750}"/>
              </a:ext>
            </a:extLst>
          </p:cNvPr>
          <p:cNvGrpSpPr/>
          <p:nvPr/>
        </p:nvGrpSpPr>
        <p:grpSpPr>
          <a:xfrm>
            <a:off x="1224950" y="-30133"/>
            <a:ext cx="9609827" cy="646097"/>
            <a:chOff x="1224950" y="264034"/>
            <a:chExt cx="9609827" cy="646097"/>
          </a:xfrm>
        </p:grpSpPr>
        <p:sp>
          <p:nvSpPr>
            <p:cNvPr id="27" name="文本框 17">
              <a:extLst>
                <a:ext uri="{FF2B5EF4-FFF2-40B4-BE49-F238E27FC236}">
                  <a16:creationId xmlns:a16="http://schemas.microsoft.com/office/drawing/2014/main" id="{1B99751C-E98F-72D5-5B94-BB6811D12144}"/>
                </a:ext>
              </a:extLst>
            </p:cNvPr>
            <p:cNvSpPr txBox="1"/>
            <p:nvPr/>
          </p:nvSpPr>
          <p:spPr>
            <a:xfrm>
              <a:off x="3305714" y="264034"/>
              <a:ext cx="54483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1" i="0" u="none" strike="noStrike" kern="0" cap="none" spc="0" normalizeH="0" baseline="0" noProof="0" dirty="0">
                  <a:ln>
                    <a:gradFill>
                      <a:gsLst>
                        <a:gs pos="0">
                          <a:srgbClr val="E4401D"/>
                        </a:gs>
                        <a:gs pos="88000">
                          <a:srgbClr val="F9C235">
                            <a:alpha val="0"/>
                          </a:srgbClr>
                        </a:gs>
                      </a:gsLst>
                      <a:lin ang="5400000" scaled="1"/>
                    </a:gradFill>
                  </a:ln>
                  <a:solidFill>
                    <a:srgbClr val="B8006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3</a:t>
              </a:r>
              <a:endParaRPr kumimoji="0" lang="zh-CN" altLang="en-US" sz="2000" b="1" i="0" u="none" strike="noStrike" kern="0" cap="none" spc="0" normalizeH="0" baseline="0" noProof="0" dirty="0">
                <a:ln>
                  <a:gradFill>
                    <a:gsLst>
                      <a:gs pos="0">
                        <a:srgbClr val="E4401D"/>
                      </a:gs>
                      <a:gs pos="88000">
                        <a:srgbClr val="F9C235">
                          <a:alpha val="0"/>
                        </a:srgbClr>
                      </a:gs>
                    </a:gsLst>
                    <a:lin ang="5400000" scaled="1"/>
                  </a:gradFill>
                </a:ln>
                <a:solidFill>
                  <a:srgbClr val="B80065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endParaRPr>
            </a:p>
          </p:txBody>
        </p:sp>
        <p:grpSp>
          <p:nvGrpSpPr>
            <p:cNvPr id="28" name="组合 27">
              <a:extLst>
                <a:ext uri="{FF2B5EF4-FFF2-40B4-BE49-F238E27FC236}">
                  <a16:creationId xmlns:a16="http://schemas.microsoft.com/office/drawing/2014/main" id="{96E9BADC-8CB8-4FA3-9B27-12F3B32E34E3}"/>
                </a:ext>
              </a:extLst>
            </p:cNvPr>
            <p:cNvGrpSpPr/>
            <p:nvPr/>
          </p:nvGrpSpPr>
          <p:grpSpPr>
            <a:xfrm>
              <a:off x="1224950" y="602354"/>
              <a:ext cx="9609827" cy="307777"/>
              <a:chOff x="607784" y="3405939"/>
              <a:chExt cx="10976432" cy="307777"/>
            </a:xfrm>
          </p:grpSpPr>
          <p:sp>
            <p:nvSpPr>
              <p:cNvPr id="29" name="文本框 14">
                <a:extLst>
                  <a:ext uri="{FF2B5EF4-FFF2-40B4-BE49-F238E27FC236}">
                    <a16:creationId xmlns:a16="http://schemas.microsoft.com/office/drawing/2014/main" id="{462AFB4C-F1E0-C315-9BD2-8E0D63C0B61A}"/>
                  </a:ext>
                </a:extLst>
              </p:cNvPr>
              <p:cNvSpPr txBox="1"/>
              <p:nvPr/>
            </p:nvSpPr>
            <p:spPr>
              <a:xfrm>
                <a:off x="5209010" y="3405939"/>
                <a:ext cx="1816318" cy="307777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b="1" i="0" u="none" strike="noStrike" kern="0" cap="none" spc="300" normalizeH="0" baseline="0" noProof="0" dirty="0">
                    <a:ln>
                      <a:noFill/>
                    </a:ln>
                    <a:solidFill>
                      <a:srgbClr val="B80065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有效性</a:t>
                </a:r>
                <a:r>
                  <a:rPr kumimoji="0" lang="en-US" altLang="zh-CN" sz="2000" b="1" i="0" u="none" strike="noStrike" kern="0" cap="none" spc="300" normalizeH="0" baseline="0" noProof="0" dirty="0">
                    <a:ln>
                      <a:noFill/>
                    </a:ln>
                    <a:solidFill>
                      <a:srgbClr val="B80065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-1/2</a:t>
                </a:r>
                <a:endParaRPr kumimoji="0" lang="zh-CN" altLang="en-US" sz="2000" b="1" i="0" u="none" strike="noStrike" kern="0" cap="none" spc="300" normalizeH="0" baseline="0" noProof="0" dirty="0">
                  <a:ln>
                    <a:noFill/>
                  </a:ln>
                  <a:solidFill>
                    <a:srgbClr val="B8006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endParaRPr>
              </a:p>
            </p:txBody>
          </p:sp>
          <p:cxnSp>
            <p:nvCxnSpPr>
              <p:cNvPr id="30" name="直接连接符 18">
                <a:extLst>
                  <a:ext uri="{FF2B5EF4-FFF2-40B4-BE49-F238E27FC236}">
                    <a16:creationId xmlns:a16="http://schemas.microsoft.com/office/drawing/2014/main" id="{DB7552F1-BEBB-6320-BBAD-9358E71184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06916" y="3452239"/>
                <a:ext cx="3077300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直接连接符 19">
                <a:extLst>
                  <a:ext uri="{FF2B5EF4-FFF2-40B4-BE49-F238E27FC236}">
                    <a16:creationId xmlns:a16="http://schemas.microsoft.com/office/drawing/2014/main" id="{8062D877-67B5-EA25-E157-423A5F942F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7784" y="3452239"/>
                <a:ext cx="2929046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</p:grpSp>
      </p:grp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9082FC2D-FA71-B161-5C4C-4C3AE53D5882}"/>
              </a:ext>
            </a:extLst>
          </p:cNvPr>
          <p:cNvCxnSpPr>
            <a:cxnSpLocks/>
          </p:cNvCxnSpPr>
          <p:nvPr/>
        </p:nvCxnSpPr>
        <p:spPr>
          <a:xfrm>
            <a:off x="6413879" y="1532900"/>
            <a:ext cx="0" cy="2315549"/>
          </a:xfrm>
          <a:prstGeom prst="line">
            <a:avLst/>
          </a:prstGeom>
          <a:noFill/>
          <a:ln w="6350" cap="rnd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pic>
        <p:nvPicPr>
          <p:cNvPr id="34" name="图片 33">
            <a:extLst>
              <a:ext uri="{FF2B5EF4-FFF2-40B4-BE49-F238E27FC236}">
                <a16:creationId xmlns:a16="http://schemas.microsoft.com/office/drawing/2014/main" id="{75834205-264A-65A4-E1A1-47CC24115C4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4138" y="1542933"/>
            <a:ext cx="719833" cy="719833"/>
          </a:xfrm>
          <a:prstGeom prst="ellipse">
            <a:avLst/>
          </a:prstGeom>
        </p:spPr>
      </p:pic>
      <p:sp>
        <p:nvSpPr>
          <p:cNvPr id="36" name="TextBox 17">
            <a:extLst>
              <a:ext uri="{FF2B5EF4-FFF2-40B4-BE49-F238E27FC236}">
                <a16:creationId xmlns:a16="http://schemas.microsoft.com/office/drawing/2014/main" id="{183608A0-37BF-512D-5872-5D5F2E052ED3}"/>
              </a:ext>
            </a:extLst>
          </p:cNvPr>
          <p:cNvSpPr txBox="1"/>
          <p:nvPr/>
        </p:nvSpPr>
        <p:spPr>
          <a:xfrm>
            <a:off x="442743" y="2266260"/>
            <a:ext cx="5892791" cy="4319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 defTabSz="1088284"/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023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年版慢性阻塞性肺疾病全球倡议 （</a:t>
            </a: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GOLD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endParaRPr lang="zh-CN" altLang="en-US" b="1" baseline="300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7" name="TextBox 18">
            <a:extLst>
              <a:ext uri="{FF2B5EF4-FFF2-40B4-BE49-F238E27FC236}">
                <a16:creationId xmlns:a16="http://schemas.microsoft.com/office/drawing/2014/main" id="{457DFD92-C5BE-10F3-04FF-4BC3DE23AAD4}"/>
              </a:ext>
            </a:extLst>
          </p:cNvPr>
          <p:cNvSpPr txBox="1"/>
          <p:nvPr/>
        </p:nvSpPr>
        <p:spPr>
          <a:xfrm>
            <a:off x="7274046" y="2320920"/>
            <a:ext cx="3729850" cy="4319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 defTabSz="1088284"/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021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年版中国慢阻肺指南</a:t>
            </a:r>
            <a:endParaRPr lang="zh-CN" altLang="en-US" b="1" baseline="300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9" name="TextBox 22">
            <a:extLst>
              <a:ext uri="{FF2B5EF4-FFF2-40B4-BE49-F238E27FC236}">
                <a16:creationId xmlns:a16="http://schemas.microsoft.com/office/drawing/2014/main" id="{8A117F67-D260-579D-8F71-CAC2AF9B435B}"/>
              </a:ext>
            </a:extLst>
          </p:cNvPr>
          <p:cNvSpPr txBox="1"/>
          <p:nvPr/>
        </p:nvSpPr>
        <p:spPr>
          <a:xfrm>
            <a:off x="442743" y="2928100"/>
            <a:ext cx="5703350" cy="9749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 algn="just" defTabSz="1088284">
              <a:lnSpc>
                <a:spcPct val="150000"/>
              </a:lnSpc>
            </a:pPr>
            <a:r>
              <a:rPr lang="zh-CN" altLang="en-US" sz="1600" dirty="0">
                <a:ea typeface="微软雅黑"/>
              </a:rPr>
              <a:t>慢阻肺患者</a:t>
            </a:r>
            <a:r>
              <a:rPr lang="zh-CN" altLang="en-US" sz="2000" b="1" dirty="0">
                <a:solidFill>
                  <a:srgbClr val="B80065"/>
                </a:solidFill>
                <a:latin typeface="Times New Roman"/>
                <a:ea typeface="微软雅黑"/>
                <a:cs typeface="Times New Roman"/>
              </a:rPr>
              <a:t>初始治疗首选双支扩剂</a:t>
            </a:r>
            <a:r>
              <a:rPr lang="en-US" altLang="zh-CN" sz="2000" b="1" baseline="30000" dirty="0">
                <a:latin typeface="Times New Roman"/>
                <a:ea typeface="微软雅黑"/>
                <a:cs typeface="Times New Roman"/>
              </a:rPr>
              <a:t>*</a:t>
            </a:r>
            <a:r>
              <a:rPr lang="zh-CN" altLang="en-US" sz="1600" dirty="0">
                <a:latin typeface="Times New Roman"/>
                <a:ea typeface="微软雅黑"/>
                <a:cs typeface="Times New Roman"/>
              </a:rPr>
              <a:t>，不再推荐单支扩剂</a:t>
            </a:r>
            <a:endParaRPr lang="en-US" altLang="zh-CN" sz="1600" b="1" dirty="0">
              <a:latin typeface="Times New Roman"/>
              <a:ea typeface="微软雅黑"/>
              <a:cs typeface="Times New Roman"/>
            </a:endParaRPr>
          </a:p>
        </p:txBody>
      </p:sp>
      <p:sp>
        <p:nvSpPr>
          <p:cNvPr id="40" name="TextBox 23">
            <a:extLst>
              <a:ext uri="{FF2B5EF4-FFF2-40B4-BE49-F238E27FC236}">
                <a16:creationId xmlns:a16="http://schemas.microsoft.com/office/drawing/2014/main" id="{ED3CEA2A-5877-3F8D-A411-0AC2E344FE7A}"/>
              </a:ext>
            </a:extLst>
          </p:cNvPr>
          <p:cNvSpPr txBox="1"/>
          <p:nvPr/>
        </p:nvSpPr>
        <p:spPr>
          <a:xfrm>
            <a:off x="6547830" y="2953490"/>
            <a:ext cx="5521186" cy="43190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just" defTabSz="1088284">
              <a:lnSpc>
                <a:spcPct val="150000"/>
              </a:lnSpc>
            </a:pPr>
            <a:r>
              <a:rPr lang="zh-CN" altLang="en-US" sz="2000" b="1" dirty="0">
                <a:solidFill>
                  <a:srgbClr val="B8006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双支扩剂是稳定期慢阻肺患者初始治疗首选之一</a:t>
            </a:r>
          </a:p>
        </p:txBody>
      </p:sp>
      <p:pic>
        <p:nvPicPr>
          <p:cNvPr id="42" name="Picture 6">
            <a:extLst>
              <a:ext uri="{FF2B5EF4-FFF2-40B4-BE49-F238E27FC236}">
                <a16:creationId xmlns:a16="http://schemas.microsoft.com/office/drawing/2014/main" id="{2C3400F2-F401-CC39-ACB8-43F42C1E037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365" t="3740" r="30477" b="928"/>
          <a:stretch/>
        </p:blipFill>
        <p:spPr>
          <a:xfrm>
            <a:off x="3018616" y="1469153"/>
            <a:ext cx="720250" cy="720000"/>
          </a:xfrm>
          <a:prstGeom prst="ellipse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3EEC89FA-E69D-DE76-48F2-EDCE0727140A}"/>
              </a:ext>
            </a:extLst>
          </p:cNvPr>
          <p:cNvSpPr txBox="1">
            <a:spLocks/>
          </p:cNvSpPr>
          <p:nvPr/>
        </p:nvSpPr>
        <p:spPr>
          <a:xfrm>
            <a:off x="11077144" y="135784"/>
            <a:ext cx="110683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B757C5-390E-4F73-B9EE-AFB5DD47937F}" type="slidenum">
              <a:rPr lang="zh-CN" altLang="en-US" sz="1200" b="1" smtClean="0"/>
              <a:pPr/>
              <a:t>6</a:t>
            </a:fld>
            <a:endParaRPr lang="zh-CN" altLang="en-US" sz="1200" b="1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D55306B-EF1D-C1BF-E0E1-0C07427F2E79}"/>
              </a:ext>
            </a:extLst>
          </p:cNvPr>
          <p:cNvSpPr txBox="1"/>
          <p:nvPr/>
        </p:nvSpPr>
        <p:spPr>
          <a:xfrm>
            <a:off x="489917" y="4339234"/>
            <a:ext cx="105030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国家药品审批中心</a:t>
            </a:r>
            <a:r>
              <a:rPr lang="en-US" altLang="zh-CN" sz="20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sz="20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技术审批报告</a:t>
            </a:r>
            <a:r>
              <a:rPr lang="en-US" altLang="zh-CN" sz="20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zh-CN" altLang="en-US" sz="20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中关于本药品有效性的描述</a:t>
            </a:r>
            <a:endParaRPr lang="en-US" sz="20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8D4EA35-9EF9-7353-8A05-95420A026711}"/>
              </a:ext>
            </a:extLst>
          </p:cNvPr>
          <p:cNvSpPr txBox="1"/>
          <p:nvPr/>
        </p:nvSpPr>
        <p:spPr>
          <a:xfrm>
            <a:off x="489917" y="4739344"/>
            <a:ext cx="11127171" cy="8332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b="0" i="0" u="none" strike="noStrik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   </a:t>
            </a:r>
            <a:r>
              <a:rPr lang="zh-CN" altLang="en-US" sz="1600" dirty="0">
                <a:ea typeface="微软雅黑"/>
              </a:rPr>
              <a:t>经风险效益评估，支持本品具有长效支气管扩张作用，适用于慢性阻塞性肺病（</a:t>
            </a:r>
            <a:r>
              <a:rPr lang="en-US" altLang="zh-CN" sz="1600" dirty="0">
                <a:ea typeface="微软雅黑"/>
              </a:rPr>
              <a:t>COPD</a:t>
            </a:r>
            <a:r>
              <a:rPr lang="zh-CN" altLang="en-US" sz="1600" dirty="0">
                <a:ea typeface="微软雅黑"/>
              </a:rPr>
              <a:t>）的长期维持治疗，一日一次用于缓解</a:t>
            </a:r>
            <a:r>
              <a:rPr lang="en-US" altLang="zh-CN" sz="1600" dirty="0">
                <a:ea typeface="微软雅黑"/>
              </a:rPr>
              <a:t>COPD</a:t>
            </a:r>
            <a:r>
              <a:rPr lang="zh-CN" altLang="en-US" sz="1600" dirty="0">
                <a:ea typeface="微软雅黑"/>
              </a:rPr>
              <a:t>患者的症状。</a:t>
            </a:r>
            <a:endParaRPr lang="en-US" sz="1600" dirty="0">
              <a:ea typeface="微软雅黑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401FBFD-B03F-73BD-A3F8-3C543C08A8B9}"/>
              </a:ext>
            </a:extLst>
          </p:cNvPr>
          <p:cNvSpPr txBox="1"/>
          <p:nvPr/>
        </p:nvSpPr>
        <p:spPr>
          <a:xfrm>
            <a:off x="311760" y="6017261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baseline="30000" dirty="0">
                <a:latin typeface="Times New Roman"/>
                <a:ea typeface="微软雅黑"/>
                <a:cs typeface="Times New Roman"/>
              </a:rPr>
              <a:t>* GOLD B</a:t>
            </a:r>
            <a:r>
              <a:rPr lang="zh-CN" altLang="en-US" sz="1400" baseline="30000" dirty="0">
                <a:latin typeface="Times New Roman"/>
                <a:ea typeface="微软雅黑"/>
                <a:cs typeface="Times New Roman"/>
              </a:rPr>
              <a:t>组和</a:t>
            </a:r>
            <a:r>
              <a:rPr lang="en-US" altLang="zh-CN" sz="1400" baseline="30000" dirty="0">
                <a:latin typeface="Times New Roman"/>
                <a:ea typeface="微软雅黑"/>
                <a:cs typeface="Times New Roman"/>
              </a:rPr>
              <a:t>E</a:t>
            </a:r>
            <a:r>
              <a:rPr lang="zh-CN" altLang="en-US" sz="1400" baseline="30000" dirty="0">
                <a:latin typeface="Times New Roman"/>
                <a:ea typeface="微软雅黑"/>
                <a:cs typeface="Times New Roman"/>
              </a:rPr>
              <a:t>组首选双支扩剂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103198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文本占位符 1">
            <a:extLst>
              <a:ext uri="{FF2B5EF4-FFF2-40B4-BE49-F238E27FC236}">
                <a16:creationId xmlns:a16="http://schemas.microsoft.com/office/drawing/2014/main" id="{841E2188-6EDA-46E0-F0FD-4113ABC4C37D}"/>
              </a:ext>
            </a:extLst>
          </p:cNvPr>
          <p:cNvSpPr txBox="1">
            <a:spLocks/>
          </p:cNvSpPr>
          <p:nvPr/>
        </p:nvSpPr>
        <p:spPr>
          <a:xfrm>
            <a:off x="365663" y="811181"/>
            <a:ext cx="11328401" cy="180807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3200" b="1" kern="1200">
                <a:solidFill>
                  <a:srgbClr val="6121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fontAlgn="base">
              <a:lnSpc>
                <a:spcPct val="150000"/>
              </a:lnSpc>
              <a:buClr>
                <a:srgbClr val="E43F1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zh-CN" altLang="en-US" sz="18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相比参照药品，</a:t>
            </a:r>
            <a:r>
              <a:rPr lang="zh-CN" altLang="en-US" sz="2400" dirty="0">
                <a:solidFill>
                  <a:srgbClr val="B8006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显著改善肺功能</a:t>
            </a:r>
            <a:r>
              <a:rPr lang="en-US" altLang="zh-CN" sz="2400" dirty="0">
                <a:solidFill>
                  <a:srgbClr val="B8006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7.2 mL </a:t>
            </a:r>
            <a:r>
              <a:rPr lang="en-US" altLang="zh-CN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169.6 vs. 82.4 mL)</a:t>
            </a:r>
          </a:p>
          <a:p>
            <a:pPr marL="285750" indent="-285750" fontAlgn="base">
              <a:lnSpc>
                <a:spcPct val="150000"/>
              </a:lnSpc>
              <a:buClr>
                <a:srgbClr val="E43F1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zh-CN" altLang="en-US" sz="18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相比单支扩剂，显著改善肺功能</a:t>
            </a:r>
            <a:r>
              <a:rPr lang="en-US" altLang="zh-CN" sz="18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7-164mL, </a:t>
            </a:r>
            <a:r>
              <a:rPr lang="zh-CN" altLang="en-US" sz="18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改善症状</a:t>
            </a:r>
            <a:r>
              <a:rPr lang="en-US" altLang="zh-CN" sz="18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4%-42%</a:t>
            </a:r>
            <a:r>
              <a:rPr lang="zh-CN" altLang="en-US" sz="18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，改善生活质量</a:t>
            </a:r>
            <a:r>
              <a:rPr lang="en-US" altLang="zh-CN" sz="18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5%</a:t>
            </a:r>
            <a:r>
              <a:rPr lang="zh-CN" altLang="en-US" sz="18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，降低急性加重风险</a:t>
            </a:r>
            <a:r>
              <a:rPr lang="en-US" altLang="zh-CN" sz="18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%</a:t>
            </a:r>
            <a:r>
              <a:rPr lang="zh-CN" altLang="en-US" sz="18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，降低临床重要恶化（</a:t>
            </a:r>
            <a:r>
              <a:rPr lang="en-US" altLang="zh-CN" sz="18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ID)</a:t>
            </a:r>
            <a:r>
              <a:rPr lang="zh-CN" altLang="en-US" sz="18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风险</a:t>
            </a:r>
            <a:r>
              <a:rPr lang="en-US" altLang="zh-CN" sz="18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%-43%.</a:t>
            </a:r>
            <a:endParaRPr lang="zh-CN" altLang="en-US" sz="1600" dirty="0">
              <a:solidFill>
                <a:srgbClr val="B8006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3" name="Group 2">
            <a:extLst>
              <a:ext uri="{FF2B5EF4-FFF2-40B4-BE49-F238E27FC236}">
                <a16:creationId xmlns:a16="http://schemas.microsoft.com/office/drawing/2014/main" id="{A8D81C02-430C-AA49-08E3-DFA30D2B74BE}"/>
              </a:ext>
            </a:extLst>
          </p:cNvPr>
          <p:cNvGrpSpPr/>
          <p:nvPr/>
        </p:nvGrpSpPr>
        <p:grpSpPr>
          <a:xfrm>
            <a:off x="1234576" y="-30133"/>
            <a:ext cx="9609827" cy="673657"/>
            <a:chOff x="1234576" y="264034"/>
            <a:chExt cx="9609827" cy="673657"/>
          </a:xfrm>
        </p:grpSpPr>
        <p:sp>
          <p:nvSpPr>
            <p:cNvPr id="44" name="文本框 17">
              <a:extLst>
                <a:ext uri="{FF2B5EF4-FFF2-40B4-BE49-F238E27FC236}">
                  <a16:creationId xmlns:a16="http://schemas.microsoft.com/office/drawing/2014/main" id="{06615862-5877-5126-F5C8-07543B5FBB57}"/>
                </a:ext>
              </a:extLst>
            </p:cNvPr>
            <p:cNvSpPr txBox="1"/>
            <p:nvPr/>
          </p:nvSpPr>
          <p:spPr>
            <a:xfrm>
              <a:off x="3305714" y="264034"/>
              <a:ext cx="54483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1" i="0" u="none" strike="noStrike" kern="0" cap="none" spc="0" normalizeH="0" baseline="0" noProof="0" dirty="0">
                  <a:ln>
                    <a:gradFill>
                      <a:gsLst>
                        <a:gs pos="0">
                          <a:srgbClr val="E4401D"/>
                        </a:gs>
                        <a:gs pos="88000">
                          <a:srgbClr val="F9C235">
                            <a:alpha val="0"/>
                          </a:srgbClr>
                        </a:gs>
                      </a:gsLst>
                      <a:lin ang="5400000" scaled="1"/>
                    </a:gradFill>
                  </a:ln>
                  <a:solidFill>
                    <a:srgbClr val="B8006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3</a:t>
              </a:r>
              <a:endParaRPr kumimoji="0" lang="zh-CN" altLang="en-US" sz="2000" b="1" i="0" u="none" strike="noStrike" kern="0" cap="none" spc="0" normalizeH="0" baseline="0" noProof="0" dirty="0">
                <a:ln>
                  <a:gradFill>
                    <a:gsLst>
                      <a:gs pos="0">
                        <a:srgbClr val="E4401D"/>
                      </a:gs>
                      <a:gs pos="88000">
                        <a:srgbClr val="F9C235">
                          <a:alpha val="0"/>
                        </a:srgbClr>
                      </a:gs>
                    </a:gsLst>
                    <a:lin ang="5400000" scaled="1"/>
                  </a:gradFill>
                </a:ln>
                <a:solidFill>
                  <a:srgbClr val="B80065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endParaRPr>
            </a:p>
          </p:txBody>
        </p:sp>
        <p:grpSp>
          <p:nvGrpSpPr>
            <p:cNvPr id="45" name="组合 44">
              <a:extLst>
                <a:ext uri="{FF2B5EF4-FFF2-40B4-BE49-F238E27FC236}">
                  <a16:creationId xmlns:a16="http://schemas.microsoft.com/office/drawing/2014/main" id="{D9C49ECE-9917-A05E-A2B9-8C1ADA7C7020}"/>
                </a:ext>
              </a:extLst>
            </p:cNvPr>
            <p:cNvGrpSpPr/>
            <p:nvPr/>
          </p:nvGrpSpPr>
          <p:grpSpPr>
            <a:xfrm>
              <a:off x="1234576" y="629914"/>
              <a:ext cx="9609827" cy="307777"/>
              <a:chOff x="618779" y="3433499"/>
              <a:chExt cx="10976432" cy="307777"/>
            </a:xfrm>
          </p:grpSpPr>
          <p:sp>
            <p:nvSpPr>
              <p:cNvPr id="46" name="文本框 14">
                <a:extLst>
                  <a:ext uri="{FF2B5EF4-FFF2-40B4-BE49-F238E27FC236}">
                    <a16:creationId xmlns:a16="http://schemas.microsoft.com/office/drawing/2014/main" id="{4B793CC5-36E5-5B40-AC0F-7250B5C9040A}"/>
                  </a:ext>
                </a:extLst>
              </p:cNvPr>
              <p:cNvSpPr txBox="1"/>
              <p:nvPr/>
            </p:nvSpPr>
            <p:spPr>
              <a:xfrm>
                <a:off x="5043944" y="3433499"/>
                <a:ext cx="1896224" cy="30777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b="1" i="0" u="none" strike="noStrike" kern="0" cap="none" spc="300" normalizeH="0" baseline="0" noProof="0" dirty="0">
                    <a:ln>
                      <a:noFill/>
                    </a:ln>
                    <a:solidFill>
                      <a:srgbClr val="B80065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有效性</a:t>
                </a:r>
                <a:r>
                  <a:rPr kumimoji="0" lang="en-US" altLang="zh-CN" sz="2000" b="1" i="0" u="none" strike="noStrike" kern="0" cap="none" spc="300" normalizeH="0" baseline="0" noProof="0" dirty="0">
                    <a:ln>
                      <a:noFill/>
                    </a:ln>
                    <a:solidFill>
                      <a:srgbClr val="B80065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-</a:t>
                </a:r>
                <a:r>
                  <a:rPr lang="en-US" altLang="zh-CN" sz="2000" b="1" kern="0" spc="300" dirty="0">
                    <a:solidFill>
                      <a:srgbClr val="B8006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2/</a:t>
                </a:r>
                <a:r>
                  <a:rPr kumimoji="0" lang="en-US" altLang="zh-CN" sz="2000" b="1" i="0" u="none" strike="noStrike" kern="0" cap="none" spc="300" normalizeH="0" baseline="0" noProof="0" dirty="0">
                    <a:ln>
                      <a:noFill/>
                    </a:ln>
                    <a:solidFill>
                      <a:srgbClr val="B80065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2</a:t>
                </a:r>
                <a:endParaRPr kumimoji="0" lang="zh-CN" altLang="en-US" sz="2000" b="1" i="0" u="none" strike="noStrike" kern="0" cap="none" spc="300" normalizeH="0" baseline="0" noProof="0" dirty="0">
                  <a:ln>
                    <a:noFill/>
                  </a:ln>
                  <a:solidFill>
                    <a:srgbClr val="B8006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endParaRPr>
              </a:p>
            </p:txBody>
          </p:sp>
          <p:cxnSp>
            <p:nvCxnSpPr>
              <p:cNvPr id="47" name="直接连接符 18">
                <a:extLst>
                  <a:ext uri="{FF2B5EF4-FFF2-40B4-BE49-F238E27FC236}">
                    <a16:creationId xmlns:a16="http://schemas.microsoft.com/office/drawing/2014/main" id="{A1EAFA2F-CCE5-DC98-5233-974E6E266A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17911" y="3587388"/>
                <a:ext cx="3077300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" name="直接连接符 19">
                <a:extLst>
                  <a:ext uri="{FF2B5EF4-FFF2-40B4-BE49-F238E27FC236}">
                    <a16:creationId xmlns:a16="http://schemas.microsoft.com/office/drawing/2014/main" id="{89B2A900-7439-2680-6817-345B74F692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8779" y="3587388"/>
                <a:ext cx="2929046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</p:grpSp>
      </p:grp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44AA000C-4D98-FC14-BF6D-FD7C913518BA}"/>
              </a:ext>
            </a:extLst>
          </p:cNvPr>
          <p:cNvSpPr txBox="1">
            <a:spLocks/>
          </p:cNvSpPr>
          <p:nvPr/>
        </p:nvSpPr>
        <p:spPr>
          <a:xfrm>
            <a:off x="11077144" y="135784"/>
            <a:ext cx="110683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B757C5-390E-4F73-B9EE-AFB5DD47937F}" type="slidenum">
              <a:rPr lang="zh-CN" altLang="en-US" sz="1200" b="1" smtClean="0"/>
              <a:pPr/>
              <a:t>7</a:t>
            </a:fld>
            <a:endParaRPr lang="zh-CN" altLang="en-US" sz="1200" b="1"/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A430C778-DA01-D5D9-7663-F9BBAEC8B1C1}"/>
              </a:ext>
            </a:extLst>
          </p:cNvPr>
          <p:cNvGrpSpPr/>
          <p:nvPr/>
        </p:nvGrpSpPr>
        <p:grpSpPr>
          <a:xfrm>
            <a:off x="3305714" y="2774760"/>
            <a:ext cx="5838286" cy="3272059"/>
            <a:chOff x="1557847" y="3045706"/>
            <a:chExt cx="3772140" cy="2674369"/>
          </a:xfrm>
        </p:grpSpPr>
        <p:sp>
          <p:nvSpPr>
            <p:cNvPr id="12" name="Left Bracket 29">
              <a:extLst>
                <a:ext uri="{FF2B5EF4-FFF2-40B4-BE49-F238E27FC236}">
                  <a16:creationId xmlns:a16="http://schemas.microsoft.com/office/drawing/2014/main" id="{795328B9-5F9E-8C5C-9A4C-0F76DA8E94DA}"/>
                </a:ext>
              </a:extLst>
            </p:cNvPr>
            <p:cNvSpPr/>
            <p:nvPr/>
          </p:nvSpPr>
          <p:spPr>
            <a:xfrm rot="5400000">
              <a:off x="3327122" y="3548308"/>
              <a:ext cx="737778" cy="1427981"/>
            </a:xfrm>
            <a:custGeom>
              <a:avLst/>
              <a:gdLst>
                <a:gd name="connsiteX0" fmla="*/ 138501 w 138501"/>
                <a:gd name="connsiteY0" fmla="*/ 902456 h 902456"/>
                <a:gd name="connsiteX1" fmla="*/ 0 w 138501"/>
                <a:gd name="connsiteY1" fmla="*/ 902455 h 902456"/>
                <a:gd name="connsiteX2" fmla="*/ 0 w 138501"/>
                <a:gd name="connsiteY2" fmla="*/ 1 h 902456"/>
                <a:gd name="connsiteX3" fmla="*/ 138501 w 138501"/>
                <a:gd name="connsiteY3" fmla="*/ 0 h 902456"/>
                <a:gd name="connsiteX4" fmla="*/ 138501 w 138501"/>
                <a:gd name="connsiteY4" fmla="*/ 902456 h 902456"/>
                <a:gd name="connsiteX0-1" fmla="*/ 138501 w 138501"/>
                <a:gd name="connsiteY0-2" fmla="*/ 902456 h 902456"/>
                <a:gd name="connsiteX1-3" fmla="*/ 0 w 138501"/>
                <a:gd name="connsiteY1-4" fmla="*/ 902455 h 902456"/>
                <a:gd name="connsiteX2-5" fmla="*/ 0 w 138501"/>
                <a:gd name="connsiteY2-6" fmla="*/ 1 h 902456"/>
                <a:gd name="connsiteX3-7" fmla="*/ 138501 w 138501"/>
                <a:gd name="connsiteY3-8" fmla="*/ 0 h 902456"/>
                <a:gd name="connsiteX0-9" fmla="*/ 138501 w 548079"/>
                <a:gd name="connsiteY0-10" fmla="*/ 902456 h 911981"/>
                <a:gd name="connsiteX1-11" fmla="*/ 0 w 548079"/>
                <a:gd name="connsiteY1-12" fmla="*/ 902455 h 911981"/>
                <a:gd name="connsiteX2-13" fmla="*/ 0 w 548079"/>
                <a:gd name="connsiteY2-14" fmla="*/ 1 h 911981"/>
                <a:gd name="connsiteX3-15" fmla="*/ 138501 w 548079"/>
                <a:gd name="connsiteY3-16" fmla="*/ 0 h 911981"/>
                <a:gd name="connsiteX4-17" fmla="*/ 138501 w 548079"/>
                <a:gd name="connsiteY4-18" fmla="*/ 902456 h 911981"/>
                <a:gd name="connsiteX0-19" fmla="*/ 548079 w 548079"/>
                <a:gd name="connsiteY0-20" fmla="*/ 911981 h 911981"/>
                <a:gd name="connsiteX1-21" fmla="*/ 0 w 548079"/>
                <a:gd name="connsiteY1-22" fmla="*/ 902455 h 911981"/>
                <a:gd name="connsiteX2-23" fmla="*/ 0 w 548079"/>
                <a:gd name="connsiteY2-24" fmla="*/ 1 h 911981"/>
                <a:gd name="connsiteX3-25" fmla="*/ 138501 w 548079"/>
                <a:gd name="connsiteY3-26" fmla="*/ 0 h 911981"/>
                <a:gd name="connsiteX0-1-1" fmla="*/ 138501 w 548079"/>
                <a:gd name="connsiteY0-2-2" fmla="*/ 902456 h 902456"/>
                <a:gd name="connsiteX1-3-3" fmla="*/ 0 w 548079"/>
                <a:gd name="connsiteY1-4-4" fmla="*/ 902455 h 902456"/>
                <a:gd name="connsiteX2-5-5" fmla="*/ 0 w 548079"/>
                <a:gd name="connsiteY2-6-6" fmla="*/ 1 h 902456"/>
                <a:gd name="connsiteX3-7-7" fmla="*/ 138501 w 548079"/>
                <a:gd name="connsiteY3-8-8" fmla="*/ 0 h 902456"/>
                <a:gd name="connsiteX4-9" fmla="*/ 138501 w 548079"/>
                <a:gd name="connsiteY4-10" fmla="*/ 902456 h 902456"/>
                <a:gd name="connsiteX0-11" fmla="*/ 548079 w 548079"/>
                <a:gd name="connsiteY0-12" fmla="*/ 901423 h 902456"/>
                <a:gd name="connsiteX1-13" fmla="*/ 0 w 548079"/>
                <a:gd name="connsiteY1-14" fmla="*/ 902455 h 902456"/>
                <a:gd name="connsiteX2-15" fmla="*/ 0 w 548079"/>
                <a:gd name="connsiteY2-16" fmla="*/ 1 h 902456"/>
                <a:gd name="connsiteX3-17" fmla="*/ 138501 w 548079"/>
                <a:gd name="connsiteY3-18" fmla="*/ 0 h 902456"/>
                <a:gd name="connsiteX0-19-9" fmla="*/ 138501 w 549855"/>
                <a:gd name="connsiteY0-20-10" fmla="*/ 902456 h 904439"/>
                <a:gd name="connsiteX1-21-11" fmla="*/ 0 w 549855"/>
                <a:gd name="connsiteY1-22-12" fmla="*/ 902455 h 904439"/>
                <a:gd name="connsiteX2-23-13" fmla="*/ 0 w 549855"/>
                <a:gd name="connsiteY2-24-14" fmla="*/ 1 h 904439"/>
                <a:gd name="connsiteX3-25-15" fmla="*/ 138501 w 549855"/>
                <a:gd name="connsiteY3-26-16" fmla="*/ 0 h 904439"/>
                <a:gd name="connsiteX4-27" fmla="*/ 138501 w 549855"/>
                <a:gd name="connsiteY4-28" fmla="*/ 902456 h 904439"/>
                <a:gd name="connsiteX0-29" fmla="*/ 549855 w 549855"/>
                <a:gd name="connsiteY0-30" fmla="*/ 904439 h 904439"/>
                <a:gd name="connsiteX1-31" fmla="*/ 0 w 549855"/>
                <a:gd name="connsiteY1-32" fmla="*/ 902455 h 904439"/>
                <a:gd name="connsiteX2-33" fmla="*/ 0 w 549855"/>
                <a:gd name="connsiteY2-34" fmla="*/ 1 h 904439"/>
                <a:gd name="connsiteX3-35" fmla="*/ 138501 w 549855"/>
                <a:gd name="connsiteY3-36" fmla="*/ 0 h 904439"/>
              </a:gdLst>
              <a:ahLst/>
              <a:cxnLst>
                <a:cxn ang="0">
                  <a:pos x="connsiteX0-1-1" y="connsiteY0-2-2"/>
                </a:cxn>
                <a:cxn ang="0">
                  <a:pos x="connsiteX1-3-3" y="connsiteY1-4-4"/>
                </a:cxn>
                <a:cxn ang="0">
                  <a:pos x="connsiteX2-5-5" y="connsiteY2-6-6"/>
                </a:cxn>
                <a:cxn ang="0">
                  <a:pos x="connsiteX3-7-7" y="connsiteY3-8-8"/>
                </a:cxn>
              </a:cxnLst>
              <a:rect l="l" t="t" r="r" b="b"/>
              <a:pathLst>
                <a:path w="549855" h="904439" stroke="0" extrusionOk="0">
                  <a:moveTo>
                    <a:pt x="138501" y="902456"/>
                  </a:moveTo>
                  <a:lnTo>
                    <a:pt x="0" y="902455"/>
                  </a:lnTo>
                  <a:lnTo>
                    <a:pt x="0" y="1"/>
                  </a:lnTo>
                  <a:cubicBezTo>
                    <a:pt x="0" y="0"/>
                    <a:pt x="62009" y="0"/>
                    <a:pt x="138501" y="0"/>
                  </a:cubicBezTo>
                  <a:lnTo>
                    <a:pt x="138501" y="902456"/>
                  </a:lnTo>
                  <a:close/>
                </a:path>
                <a:path w="549855" h="904439" fill="none">
                  <a:moveTo>
                    <a:pt x="549855" y="904439"/>
                  </a:moveTo>
                  <a:lnTo>
                    <a:pt x="0" y="902455"/>
                  </a:lnTo>
                  <a:lnTo>
                    <a:pt x="0" y="1"/>
                  </a:lnTo>
                  <a:cubicBezTo>
                    <a:pt x="0" y="0"/>
                    <a:pt x="62009" y="0"/>
                    <a:pt x="138501" y="0"/>
                  </a:cubicBezTo>
                </a:path>
              </a:pathLst>
            </a:custGeom>
            <a:noFill/>
            <a:ln w="12700" cap="flat" cmpd="sng" algn="ctr">
              <a:solidFill>
                <a:sysClr val="windowText" lastClr="000000">
                  <a:lumMod val="85000"/>
                  <a:lumOff val="15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429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0" cap="none" spc="0" normalizeH="0" baseline="0" noProof="0" dirty="0">
                <a:ln>
                  <a:noFill/>
                </a:ln>
                <a:solidFill>
                  <a:srgbClr val="544F40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sp>
          <p:nvSpPr>
            <p:cNvPr id="13" name="TextBox 28">
              <a:extLst>
                <a:ext uri="{FF2B5EF4-FFF2-40B4-BE49-F238E27FC236}">
                  <a16:creationId xmlns:a16="http://schemas.microsoft.com/office/drawing/2014/main" id="{7AAA1030-CD48-4B6B-0941-3B78785CA81A}"/>
                </a:ext>
              </a:extLst>
            </p:cNvPr>
            <p:cNvSpPr txBox="1"/>
            <p:nvPr/>
          </p:nvSpPr>
          <p:spPr>
            <a:xfrm>
              <a:off x="2568232" y="3429089"/>
              <a:ext cx="2671544" cy="25155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 defTabSz="685800">
                <a:buClr>
                  <a:srgbClr val="544F40"/>
                </a:buClr>
                <a:defRPr/>
              </a:pPr>
              <a:r>
                <a:rPr lang="fr-FR" sz="2000" b="1" kern="0" dirty="0">
                  <a:solidFill>
                    <a:srgbClr val="B8006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 </a:t>
              </a:r>
              <a:r>
                <a:rPr lang="el-GR" sz="2000" b="1" kern="0" dirty="0">
                  <a:solidFill>
                    <a:srgbClr val="B8006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Δ </a:t>
              </a:r>
              <a:r>
                <a:rPr lang="en-GB" sz="2000" b="1" kern="0" dirty="0">
                  <a:solidFill>
                    <a:srgbClr val="B8006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-87.2 mL </a:t>
              </a:r>
              <a:r>
                <a:rPr lang="en-GB" sz="1400" b="1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(95% CI: -117.0, -57.4)</a:t>
              </a:r>
            </a:p>
          </p:txBody>
        </p:sp>
        <p:sp>
          <p:nvSpPr>
            <p:cNvPr id="16" name="TextBox 19">
              <a:extLst>
                <a:ext uri="{FF2B5EF4-FFF2-40B4-BE49-F238E27FC236}">
                  <a16:creationId xmlns:a16="http://schemas.microsoft.com/office/drawing/2014/main" id="{991D56E5-396C-F690-21C1-A9964A22A2B4}"/>
                </a:ext>
              </a:extLst>
            </p:cNvPr>
            <p:cNvSpPr txBox="1"/>
            <p:nvPr/>
          </p:nvSpPr>
          <p:spPr>
            <a:xfrm>
              <a:off x="3656651" y="5166077"/>
              <a:ext cx="167333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buClr>
                  <a:srgbClr val="544F40"/>
                </a:buClr>
                <a:defRPr/>
              </a:pPr>
              <a:r>
                <a:rPr lang="zh-CN" altLang="en-US" sz="10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乌美溴铵/维兰特罗</a:t>
              </a:r>
              <a:endParaRPr lang="en-GB" sz="1000" b="1" kern="0" baseline="30000" dirty="0">
                <a:solidFill>
                  <a:prstClr val="black">
                    <a:lumMod val="85000"/>
                    <a:lumOff val="15000"/>
                  </a:prstClr>
                </a:solidFill>
                <a:highlight>
                  <a:srgbClr val="FFFF00"/>
                </a:highlight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algn="ctr">
                <a:buClr>
                  <a:srgbClr val="544F40"/>
                </a:buClr>
                <a:defRPr/>
              </a:pPr>
              <a:r>
                <a:rPr lang="en-GB" sz="1000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62.5/25</a:t>
              </a:r>
              <a:r>
                <a:rPr lang="en-US" altLang="zh-CN" sz="1000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 μ</a:t>
              </a:r>
              <a:r>
                <a:rPr lang="en-GB" sz="1000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g </a:t>
              </a:r>
            </a:p>
            <a:p>
              <a:pPr algn="ctr">
                <a:buClr>
                  <a:srgbClr val="544F40"/>
                </a:buClr>
                <a:defRPr/>
              </a:pPr>
              <a:r>
                <a:rPr lang="en-GB" sz="1000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(n=489)</a:t>
              </a:r>
            </a:p>
          </p:txBody>
        </p:sp>
        <p:sp>
          <p:nvSpPr>
            <p:cNvPr id="17" name="TextBox 19">
              <a:extLst>
                <a:ext uri="{FF2B5EF4-FFF2-40B4-BE49-F238E27FC236}">
                  <a16:creationId xmlns:a16="http://schemas.microsoft.com/office/drawing/2014/main" id="{0CDEEACA-0AE7-452D-9F5A-735051B7F36A}"/>
                </a:ext>
              </a:extLst>
            </p:cNvPr>
            <p:cNvSpPr txBox="1"/>
            <p:nvPr/>
          </p:nvSpPr>
          <p:spPr>
            <a:xfrm>
              <a:off x="2245852" y="5166077"/>
              <a:ext cx="158253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buClr>
                  <a:srgbClr val="544F40"/>
                </a:buClr>
                <a:defRPr/>
              </a:pPr>
              <a:r>
                <a:rPr lang="zh-CN" altLang="en-US" sz="10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微软雅黑" panose="020B0503020204020204" pitchFamily="34" charset="-122"/>
                </a:rPr>
                <a:t>格隆溴铵</a:t>
              </a:r>
              <a:r>
                <a:rPr lang="en-US" altLang="zh-CN" sz="10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微软雅黑" panose="020B0503020204020204" pitchFamily="34" charset="-122"/>
                </a:rPr>
                <a:t>/</a:t>
              </a:r>
              <a:r>
                <a:rPr lang="zh-CN" altLang="en-US" sz="10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微软雅黑" panose="020B0503020204020204" pitchFamily="34" charset="-122"/>
                </a:rPr>
                <a:t>福莫特罗</a:t>
              </a:r>
              <a:endParaRPr lang="en-GB" sz="1000" b="1" kern="0" baseline="30000" dirty="0">
                <a:solidFill>
                  <a:prstClr val="black">
                    <a:lumMod val="85000"/>
                    <a:lumOff val="15000"/>
                  </a:prstClr>
                </a:solidFill>
                <a:highlight>
                  <a:srgbClr val="FFFF00"/>
                </a:highlight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algn="ctr">
                <a:buClr>
                  <a:srgbClr val="544F40"/>
                </a:buClr>
                <a:defRPr/>
              </a:pPr>
              <a:r>
                <a:rPr lang="en-GB" sz="1000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18/9.6</a:t>
              </a:r>
              <a:r>
                <a:rPr lang="en-US" altLang="zh-CN" sz="1000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 μ</a:t>
              </a:r>
              <a:r>
                <a:rPr lang="en-GB" sz="1000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g </a:t>
              </a:r>
            </a:p>
            <a:p>
              <a:pPr algn="ctr">
                <a:buClr>
                  <a:srgbClr val="544F40"/>
                </a:buClr>
                <a:defRPr/>
              </a:pPr>
              <a:r>
                <a:rPr lang="en-GB" sz="1000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(n=474)</a:t>
              </a:r>
            </a:p>
          </p:txBody>
        </p:sp>
        <p:sp>
          <p:nvSpPr>
            <p:cNvPr id="18" name="TextBox 30">
              <a:extLst>
                <a:ext uri="{FF2B5EF4-FFF2-40B4-BE49-F238E27FC236}">
                  <a16:creationId xmlns:a16="http://schemas.microsoft.com/office/drawing/2014/main" id="{EDDFF755-9CBF-EE35-B978-ECCAD7CF6E6D}"/>
                </a:ext>
              </a:extLst>
            </p:cNvPr>
            <p:cNvSpPr txBox="1"/>
            <p:nvPr/>
          </p:nvSpPr>
          <p:spPr>
            <a:xfrm>
              <a:off x="1557847" y="3045706"/>
              <a:ext cx="259080" cy="2355451"/>
            </a:xfrm>
            <a:prstGeom prst="rect">
              <a:avLst/>
            </a:prstGeom>
            <a:noFill/>
          </p:spPr>
          <p:txBody>
            <a:bodyPr vert="vert270" wrap="square" lIns="0" tIns="0" rIns="0" bIns="0" rtlCol="0">
              <a:noAutofit/>
            </a:bodyPr>
            <a:lstStyle/>
            <a:p>
              <a:pPr algn="ctr">
                <a:buClr>
                  <a:prstClr val="black"/>
                </a:buClr>
                <a:defRPr/>
              </a:pPr>
              <a:r>
                <a:rPr lang="en-US" altLang="zh-CN" sz="10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FEV</a:t>
              </a:r>
              <a:r>
                <a:rPr lang="en-US" altLang="zh-CN" sz="1000" baseline="-250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1</a:t>
              </a:r>
              <a:r>
                <a:rPr lang="zh-CN" altLang="en-US" sz="10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谷值自基线变化最小二乘均值 </a:t>
              </a:r>
              <a:r>
                <a:rPr lang="en-US" altLang="zh-CN" sz="10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(ml)</a:t>
              </a:r>
              <a:endParaRPr lang="zh-CN" altLang="en-US" sz="1000" dirty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39C5FA5E-7825-6E8A-7A85-A66CF19BB3AC}"/>
              </a:ext>
            </a:extLst>
          </p:cNvPr>
          <p:cNvGrpSpPr/>
          <p:nvPr/>
        </p:nvGrpSpPr>
        <p:grpSpPr>
          <a:xfrm>
            <a:off x="5048617" y="2673030"/>
            <a:ext cx="2728729" cy="400502"/>
            <a:chOff x="1977356" y="1792945"/>
            <a:chExt cx="2471412" cy="394660"/>
          </a:xfrm>
          <a:noFill/>
        </p:grpSpPr>
        <p:sp>
          <p:nvSpPr>
            <p:cNvPr id="26" name="矩形: 圆角 25">
              <a:extLst>
                <a:ext uri="{FF2B5EF4-FFF2-40B4-BE49-F238E27FC236}">
                  <a16:creationId xmlns:a16="http://schemas.microsoft.com/office/drawing/2014/main" id="{ABDCC8FE-EC57-FB20-E904-77031640FFBF}"/>
                </a:ext>
              </a:extLst>
            </p:cNvPr>
            <p:cNvSpPr/>
            <p:nvPr/>
          </p:nvSpPr>
          <p:spPr>
            <a:xfrm>
              <a:off x="1977356" y="1792945"/>
              <a:ext cx="2471412" cy="39466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sp>
          <p:nvSpPr>
            <p:cNvPr id="27" name="Rectangle : coins arrondis 90">
              <a:extLst>
                <a:ext uri="{FF2B5EF4-FFF2-40B4-BE49-F238E27FC236}">
                  <a16:creationId xmlns:a16="http://schemas.microsoft.com/office/drawing/2014/main" id="{DFD0C7A6-8A37-728F-AD1F-E576FB461AD7}"/>
                </a:ext>
              </a:extLst>
            </p:cNvPr>
            <p:cNvSpPr/>
            <p:nvPr/>
          </p:nvSpPr>
          <p:spPr bwMode="auto">
            <a:xfrm>
              <a:off x="2129776" y="1838878"/>
              <a:ext cx="2166572" cy="302794"/>
            </a:xfrm>
            <a:prstGeom prst="round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44F40"/>
                </a:buClr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微软雅黑" panose="020B0503020204020204" pitchFamily="34" charset="-122"/>
                </a:rPr>
                <a:t>24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微软雅黑" panose="020B0503020204020204" pitchFamily="34" charset="-122"/>
                </a:rPr>
                <a:t>周给药前</a:t>
              </a: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微软雅黑" panose="020B0503020204020204" pitchFamily="34" charset="-122"/>
                </a:rPr>
                <a:t>FEV</a:t>
              </a:r>
              <a:r>
                <a:rPr kumimoji="0" lang="en-US" altLang="zh-CN" sz="1600" b="1" i="0" u="none" strike="noStrike" kern="1200" cap="none" spc="0" normalizeH="0" baseline="-2500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微软雅黑" panose="020B0503020204020204" pitchFamily="34" charset="-122"/>
                </a:rPr>
                <a:t>1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微软雅黑" panose="020B0503020204020204" pitchFamily="34" charset="-122"/>
                </a:rPr>
                <a:t>谷值</a:t>
              </a:r>
              <a:endParaRPr kumimoji="0" lang="en-GB" sz="1600" b="1" i="0" u="none" strike="noStrike" kern="0" cap="none" spc="0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</p:grpSp>
      <p:graphicFrame>
        <p:nvGraphicFramePr>
          <p:cNvPr id="3" name="Chart 26">
            <a:extLst>
              <a:ext uri="{FF2B5EF4-FFF2-40B4-BE49-F238E27FC236}">
                <a16:creationId xmlns:a16="http://schemas.microsoft.com/office/drawing/2014/main" id="{86679FE5-E545-3A46-FF39-5EDC3BBC6A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2084769"/>
              </p:ext>
            </p:extLst>
          </p:nvPr>
        </p:nvGraphicFramePr>
        <p:xfrm>
          <a:off x="3604276" y="2722929"/>
          <a:ext cx="5436921" cy="3094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008127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56C6589A-25F8-2A28-339C-AB561D70193E}"/>
              </a:ext>
            </a:extLst>
          </p:cNvPr>
          <p:cNvSpPr/>
          <p:nvPr/>
        </p:nvSpPr>
        <p:spPr bwMode="auto">
          <a:xfrm>
            <a:off x="6766431" y="870949"/>
            <a:ext cx="4612769" cy="508500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72000" numCol="1" spcCol="0" rtlCol="0" fromWordArt="0" anchor="t" anchorCtr="0" forceAA="0" compatLnSpc="1">
            <a:noAutofit/>
          </a:bodyPr>
          <a:lstStyle/>
          <a:p>
            <a:pPr algn="l" eaLnBrk="0" hangingPunct="0">
              <a:lnSpc>
                <a:spcPct val="120000"/>
              </a:lnSpc>
              <a:buClr>
                <a:schemeClr val="bg1"/>
              </a:buClr>
            </a:pPr>
            <a:endParaRPr lang="en-US" sz="1200" kern="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06" name="Group 2">
            <a:extLst>
              <a:ext uri="{FF2B5EF4-FFF2-40B4-BE49-F238E27FC236}">
                <a16:creationId xmlns:a16="http://schemas.microsoft.com/office/drawing/2014/main" id="{F45CA999-FA06-F51A-E029-637C573B97A7}"/>
              </a:ext>
            </a:extLst>
          </p:cNvPr>
          <p:cNvGrpSpPr/>
          <p:nvPr/>
        </p:nvGrpSpPr>
        <p:grpSpPr>
          <a:xfrm>
            <a:off x="1224950" y="58767"/>
            <a:ext cx="9609827" cy="625777"/>
            <a:chOff x="1224950" y="264034"/>
            <a:chExt cx="9609827" cy="625777"/>
          </a:xfrm>
        </p:grpSpPr>
        <p:sp>
          <p:nvSpPr>
            <p:cNvPr id="107" name="文本框 17">
              <a:extLst>
                <a:ext uri="{FF2B5EF4-FFF2-40B4-BE49-F238E27FC236}">
                  <a16:creationId xmlns:a16="http://schemas.microsoft.com/office/drawing/2014/main" id="{7E1A8365-7917-ED05-D498-8C0EBC5A2AE1}"/>
                </a:ext>
              </a:extLst>
            </p:cNvPr>
            <p:cNvSpPr txBox="1"/>
            <p:nvPr/>
          </p:nvSpPr>
          <p:spPr>
            <a:xfrm>
              <a:off x="3305714" y="264034"/>
              <a:ext cx="54483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altLang="zh-CN" sz="2000" b="1" kern="0" dirty="0">
                  <a:ln>
                    <a:gradFill>
                      <a:gsLst>
                        <a:gs pos="0">
                          <a:srgbClr val="E4401D"/>
                        </a:gs>
                        <a:gs pos="88000">
                          <a:srgbClr val="F9C235">
                            <a:alpha val="0"/>
                          </a:srgbClr>
                        </a:gs>
                      </a:gsLst>
                      <a:lin ang="5400000" scaled="1"/>
                    </a:gradFill>
                  </a:ln>
                  <a:solidFill>
                    <a:srgbClr val="B8006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4</a:t>
              </a:r>
              <a:endParaRPr lang="zh-CN" altLang="en-US" sz="2000" b="1" kern="0" dirty="0">
                <a:ln>
                  <a:gradFill>
                    <a:gsLst>
                      <a:gs pos="0">
                        <a:srgbClr val="E4401D"/>
                      </a:gs>
                      <a:gs pos="88000">
                        <a:srgbClr val="F9C235">
                          <a:alpha val="0"/>
                        </a:srgbClr>
                      </a:gs>
                    </a:gsLst>
                    <a:lin ang="5400000" scaled="1"/>
                  </a:gradFill>
                </a:ln>
                <a:solidFill>
                  <a:srgbClr val="B8006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endParaRPr>
            </a:p>
          </p:txBody>
        </p:sp>
        <p:grpSp>
          <p:nvGrpSpPr>
            <p:cNvPr id="108" name="组合 107">
              <a:extLst>
                <a:ext uri="{FF2B5EF4-FFF2-40B4-BE49-F238E27FC236}">
                  <a16:creationId xmlns:a16="http://schemas.microsoft.com/office/drawing/2014/main" id="{D3B7D14F-55FF-9A63-6422-19A2DE7F1AD8}"/>
                </a:ext>
              </a:extLst>
            </p:cNvPr>
            <p:cNvGrpSpPr/>
            <p:nvPr/>
          </p:nvGrpSpPr>
          <p:grpSpPr>
            <a:xfrm>
              <a:off x="1224950" y="582034"/>
              <a:ext cx="9609827" cy="307777"/>
              <a:chOff x="607784" y="3385619"/>
              <a:chExt cx="10976432" cy="307777"/>
            </a:xfrm>
          </p:grpSpPr>
          <p:sp>
            <p:nvSpPr>
              <p:cNvPr id="109" name="文本框 14">
                <a:extLst>
                  <a:ext uri="{FF2B5EF4-FFF2-40B4-BE49-F238E27FC236}">
                    <a16:creationId xmlns:a16="http://schemas.microsoft.com/office/drawing/2014/main" id="{B6599A45-770D-C138-7E10-D18C8F1872A5}"/>
                  </a:ext>
                </a:extLst>
              </p:cNvPr>
              <p:cNvSpPr txBox="1"/>
              <p:nvPr/>
            </p:nvSpPr>
            <p:spPr>
              <a:xfrm>
                <a:off x="5143097" y="3385619"/>
                <a:ext cx="1948147" cy="307777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zh-CN" altLang="en-US" sz="2000" b="1" kern="0" spc="300" dirty="0">
                    <a:solidFill>
                      <a:srgbClr val="B8006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创新性</a:t>
                </a:r>
                <a:r>
                  <a:rPr lang="en-US" altLang="zh-CN" sz="2000" b="1" kern="0" spc="300" dirty="0">
                    <a:solidFill>
                      <a:srgbClr val="B8006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-1/2</a:t>
                </a:r>
                <a:r>
                  <a:rPr lang="zh-CN" altLang="en-US" sz="2000" b="1" kern="0" spc="300" dirty="0">
                    <a:solidFill>
                      <a:srgbClr val="B8006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 </a:t>
                </a:r>
                <a:endParaRPr lang="en-US" altLang="zh-CN" sz="2000" b="1" kern="0" dirty="0">
                  <a:ln>
                    <a:gradFill>
                      <a:gsLst>
                        <a:gs pos="0">
                          <a:srgbClr val="E4401D"/>
                        </a:gs>
                        <a:gs pos="88000">
                          <a:srgbClr val="F9C235">
                            <a:alpha val="0"/>
                          </a:srgbClr>
                        </a:gs>
                      </a:gsLst>
                      <a:lin ang="5400000" scaled="1"/>
                    </a:gradFill>
                  </a:ln>
                  <a:solidFill>
                    <a:srgbClr val="B8006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endParaRPr>
              </a:p>
            </p:txBody>
          </p:sp>
          <p:cxnSp>
            <p:nvCxnSpPr>
              <p:cNvPr id="110" name="直接连接符 18">
                <a:extLst>
                  <a:ext uri="{FF2B5EF4-FFF2-40B4-BE49-F238E27FC236}">
                    <a16:creationId xmlns:a16="http://schemas.microsoft.com/office/drawing/2014/main" id="{63C80BA3-9869-C491-FCF0-FAE70E830D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06916" y="3452239"/>
                <a:ext cx="3077300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1" name="直接连接符 19">
                <a:extLst>
                  <a:ext uri="{FF2B5EF4-FFF2-40B4-BE49-F238E27FC236}">
                    <a16:creationId xmlns:a16="http://schemas.microsoft.com/office/drawing/2014/main" id="{35D53C88-2338-5D6C-AC0D-C8E29E629B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7784" y="3452239"/>
                <a:ext cx="2929046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</p:grpSp>
      </p:grpSp>
      <p:sp>
        <p:nvSpPr>
          <p:cNvPr id="112" name="文本框 111">
            <a:extLst>
              <a:ext uri="{FF2B5EF4-FFF2-40B4-BE49-F238E27FC236}">
                <a16:creationId xmlns:a16="http://schemas.microsoft.com/office/drawing/2014/main" id="{3F161B48-BF30-80CD-389B-5FFBB5367C8D}"/>
              </a:ext>
            </a:extLst>
          </p:cNvPr>
          <p:cNvSpPr txBox="1"/>
          <p:nvPr/>
        </p:nvSpPr>
        <p:spPr>
          <a:xfrm>
            <a:off x="294640" y="843497"/>
            <a:ext cx="6103400" cy="512704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000" b="1" dirty="0">
                <a:solidFill>
                  <a:prstClr val="black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创新点</a:t>
            </a:r>
            <a:r>
              <a:rPr lang="en-US" altLang="zh-CN" sz="2000" b="1" dirty="0">
                <a:solidFill>
                  <a:prstClr val="black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lang="zh-CN" altLang="en-US" sz="2000" b="1" dirty="0">
                <a:solidFill>
                  <a:prstClr val="black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（机理创新）</a:t>
            </a:r>
            <a:endParaRPr lang="en-US" altLang="zh-CN" sz="2000" b="1" dirty="0">
              <a:solidFill>
                <a:prstClr val="black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zh-CN" altLang="en-US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    本品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</a:t>
            </a:r>
            <a:r>
              <a:rPr lang="zh-CN" altLang="en-US" sz="2400" b="1" dirty="0">
                <a:solidFill>
                  <a:srgbClr val="B8006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创新长效两分子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维兰特罗（</a:t>
            </a:r>
            <a:r>
              <a:rPr lang="en-US" altLang="zh-CN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LABA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和乌美溴铵（</a:t>
            </a:r>
            <a:r>
              <a:rPr lang="en-US" altLang="zh-CN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LAMA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r>
              <a:rPr lang="zh-CN" altLang="en-US" sz="2400" b="1" dirty="0">
                <a:solidFill>
                  <a:srgbClr val="B8006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兼备强效与长效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通过</a:t>
            </a:r>
            <a:r>
              <a:rPr lang="zh-CN" altLang="en-US" sz="2400" b="1" dirty="0">
                <a:solidFill>
                  <a:srgbClr val="B8006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双重作用通路协同舒张支气管。</a:t>
            </a:r>
            <a:endParaRPr lang="en-US" altLang="zh-CN" sz="2000" b="1" dirty="0">
              <a:solidFill>
                <a:srgbClr val="B8006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维兰特罗（</a:t>
            </a:r>
            <a:r>
              <a:rPr lang="en-US" altLang="zh-CN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LABA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强效长效：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快速且持激动气道平滑肌上</a:t>
            </a:r>
            <a:r>
              <a:rPr lang="en-US" altLang="zh-CN" sz="1600" kern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β</a:t>
            </a:r>
            <a:r>
              <a:rPr lang="en-US" altLang="zh-CN" sz="1600" kern="1200" baseline="-250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肾上腺素受体，持续舒张支气管，</a:t>
            </a:r>
            <a:r>
              <a:rPr lang="en-US" altLang="zh-CN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4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小时</a:t>
            </a:r>
            <a:r>
              <a:rPr lang="zh-CN" altLang="en-US" sz="1600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强效改善肺功能；</a:t>
            </a:r>
            <a:endParaRPr lang="en-US" altLang="zh-CN" sz="1600" kern="12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安全性良好：</a:t>
            </a:r>
            <a:r>
              <a:rPr lang="zh-CN" altLang="en-US" sz="1600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更高</a:t>
            </a:r>
            <a:r>
              <a:rPr lang="en-US" altLang="zh-CN" sz="1600" kern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β</a:t>
            </a:r>
            <a:r>
              <a:rPr lang="en-US" altLang="zh-CN" sz="1600" kern="1200" baseline="-250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r>
              <a:rPr lang="zh-CN" altLang="en-US" sz="1600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受体选择性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全身暴露后快速失活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乌美溴铵（</a:t>
            </a:r>
            <a:r>
              <a:rPr lang="en-US" altLang="zh-CN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LAMA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强效长效：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抑制</a:t>
            </a:r>
            <a:r>
              <a:rPr lang="en-US" altLang="zh-CN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3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毒蕈碱受体，从而减少气道平滑肌收缩，持续舒张支气管，</a:t>
            </a:r>
            <a:r>
              <a:rPr lang="en-US" altLang="zh-CN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4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小时强效改善肺功能；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安全性良好：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更高</a:t>
            </a:r>
            <a:r>
              <a:rPr lang="en-US" altLang="zh-CN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3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受体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选择性，全身暴露后快速失活</a:t>
            </a:r>
            <a:r>
              <a:rPr lang="zh-CN" altLang="en-US" sz="1600" b="0" dirty="0">
                <a:solidFill>
                  <a:schemeClr val="tx1"/>
                </a:solidFill>
                <a:latin typeface="Arial Rounded MT Bold" panose="020F0704030504030204" pitchFamily="34" charset="0"/>
              </a:rPr>
              <a:t>。</a:t>
            </a:r>
            <a:endParaRPr lang="en-US" altLang="zh-CN" sz="2000" b="1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13" name="灯片编号占位符 1">
            <a:extLst>
              <a:ext uri="{FF2B5EF4-FFF2-40B4-BE49-F238E27FC236}">
                <a16:creationId xmlns:a16="http://schemas.microsoft.com/office/drawing/2014/main" id="{03786042-2722-D5A6-3F70-DFA2ED052022}"/>
              </a:ext>
            </a:extLst>
          </p:cNvPr>
          <p:cNvSpPr txBox="1">
            <a:spLocks/>
          </p:cNvSpPr>
          <p:nvPr/>
        </p:nvSpPr>
        <p:spPr>
          <a:xfrm>
            <a:off x="11077144" y="135784"/>
            <a:ext cx="110683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B757C5-390E-4F73-B9EE-AFB5DD47937F}" type="slidenum">
              <a:rPr lang="zh-CN" altLang="en-US" sz="1200" b="1" smtClean="0">
                <a:solidFill>
                  <a:prstClr val="black"/>
                </a:solidFill>
                <a:ea typeface="微软雅黑"/>
              </a:rPr>
              <a:pPr/>
              <a:t>8</a:t>
            </a:fld>
            <a:endParaRPr lang="zh-CN" altLang="en-US" sz="1200" b="1">
              <a:solidFill>
                <a:prstClr val="black"/>
              </a:solidFill>
              <a:ea typeface="微软雅黑"/>
            </a:endParaRPr>
          </a:p>
        </p:txBody>
      </p:sp>
      <p:sp>
        <p:nvSpPr>
          <p:cNvPr id="114" name="文本框 113">
            <a:extLst>
              <a:ext uri="{FF2B5EF4-FFF2-40B4-BE49-F238E27FC236}">
                <a16:creationId xmlns:a16="http://schemas.microsoft.com/office/drawing/2014/main" id="{85337141-FFAA-F556-0318-D30D9AE8D4F1}"/>
              </a:ext>
            </a:extLst>
          </p:cNvPr>
          <p:cNvSpPr txBox="1"/>
          <p:nvPr/>
        </p:nvSpPr>
        <p:spPr>
          <a:xfrm>
            <a:off x="6793115" y="843497"/>
            <a:ext cx="4545445" cy="4941737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该创新带来的患者获益</a:t>
            </a:r>
            <a:endParaRPr lang="en-US" altLang="zh-CN" sz="2000" b="1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</a:pPr>
            <a:endParaRPr lang="en-US" altLang="zh-CN" b="1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中国</a:t>
            </a:r>
            <a:r>
              <a:rPr lang="zh-CN" altLang="en-US" b="1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首个</a:t>
            </a:r>
            <a:r>
              <a:rPr lang="zh-CN" altLang="en-US" sz="2400" b="1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一天一次一吸</a:t>
            </a:r>
            <a:r>
              <a:rPr lang="zh-CN" altLang="en-US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用于慢阻肺治疗的单一装置两联吸入治疗方案；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参照药品为一天二次四吸</a:t>
            </a:r>
            <a:r>
              <a:rPr lang="zh-CN" altLang="en-US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endParaRPr lang="en-US" altLang="zh-CN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强效和长效双重保障，</a:t>
            </a:r>
            <a:r>
              <a:rPr lang="zh-CN" altLang="en-US" sz="2400" b="1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持续</a:t>
            </a:r>
            <a:r>
              <a:rPr lang="en-US" altLang="zh-CN" sz="2400" b="1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4</a:t>
            </a:r>
            <a:r>
              <a:rPr lang="zh-CN" altLang="en-US" sz="2400" b="1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小时更强改善肺功能</a:t>
            </a:r>
            <a:r>
              <a:rPr lang="zh-CN" altLang="en-US" sz="2000" b="1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更好管理急性加重风险和提高依从性。</a:t>
            </a:r>
            <a:endParaRPr lang="en-US" altLang="zh-CN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endParaRPr lang="en-US" altLang="zh-CN" sz="14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6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" name="箭头: 右 1">
            <a:extLst>
              <a:ext uri="{FF2B5EF4-FFF2-40B4-BE49-F238E27FC236}">
                <a16:creationId xmlns:a16="http://schemas.microsoft.com/office/drawing/2014/main" id="{D371FB7D-EA31-A64B-6A7C-0C3BB75EF313}"/>
              </a:ext>
            </a:extLst>
          </p:cNvPr>
          <p:cNvSpPr/>
          <p:nvPr/>
        </p:nvSpPr>
        <p:spPr>
          <a:xfrm>
            <a:off x="6424724" y="3000487"/>
            <a:ext cx="341707" cy="857026"/>
          </a:xfrm>
          <a:prstGeom prst="rightArrow">
            <a:avLst/>
          </a:prstGeom>
          <a:solidFill>
            <a:srgbClr val="B80065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29612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0E3C9006-B4C6-302E-F7A3-1EAD4EBE0D2A}"/>
              </a:ext>
            </a:extLst>
          </p:cNvPr>
          <p:cNvSpPr/>
          <p:nvPr/>
        </p:nvSpPr>
        <p:spPr bwMode="auto">
          <a:xfrm>
            <a:off x="292014" y="1144129"/>
            <a:ext cx="6035737" cy="464306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72000" numCol="1" spcCol="0" rtlCol="0" fromWordArt="0" anchor="t" anchorCtr="0" forceAA="0" compatLnSpc="1">
            <a:noAutofit/>
          </a:bodyPr>
          <a:lstStyle/>
          <a:p>
            <a:pPr algn="l" eaLnBrk="0" hangingPunct="0">
              <a:lnSpc>
                <a:spcPct val="120000"/>
              </a:lnSpc>
              <a:buClr>
                <a:schemeClr val="bg1"/>
              </a:buClr>
            </a:pPr>
            <a:endParaRPr lang="en-US" sz="1200" kern="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1" name="Group 2">
            <a:extLst>
              <a:ext uri="{FF2B5EF4-FFF2-40B4-BE49-F238E27FC236}">
                <a16:creationId xmlns:a16="http://schemas.microsoft.com/office/drawing/2014/main" id="{81EBC408-15AF-F6E1-7276-BCB44DBDBEE1}"/>
              </a:ext>
            </a:extLst>
          </p:cNvPr>
          <p:cNvGrpSpPr/>
          <p:nvPr/>
        </p:nvGrpSpPr>
        <p:grpSpPr>
          <a:xfrm>
            <a:off x="1224950" y="-30133"/>
            <a:ext cx="9609827" cy="625777"/>
            <a:chOff x="1224950" y="264034"/>
            <a:chExt cx="9609827" cy="625777"/>
          </a:xfrm>
        </p:grpSpPr>
        <p:sp>
          <p:nvSpPr>
            <p:cNvPr id="82" name="文本框 17">
              <a:extLst>
                <a:ext uri="{FF2B5EF4-FFF2-40B4-BE49-F238E27FC236}">
                  <a16:creationId xmlns:a16="http://schemas.microsoft.com/office/drawing/2014/main" id="{1A6F3024-D631-0A38-1F82-46E192C45E61}"/>
                </a:ext>
              </a:extLst>
            </p:cNvPr>
            <p:cNvSpPr txBox="1"/>
            <p:nvPr/>
          </p:nvSpPr>
          <p:spPr>
            <a:xfrm>
              <a:off x="3305714" y="264034"/>
              <a:ext cx="54483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altLang="zh-CN" sz="2000" b="1" kern="0" dirty="0">
                  <a:ln>
                    <a:gradFill>
                      <a:gsLst>
                        <a:gs pos="0">
                          <a:srgbClr val="E4401D"/>
                        </a:gs>
                        <a:gs pos="88000">
                          <a:srgbClr val="F9C235">
                            <a:alpha val="0"/>
                          </a:srgbClr>
                        </a:gs>
                      </a:gsLst>
                      <a:lin ang="5400000" scaled="1"/>
                    </a:gradFill>
                  </a:ln>
                  <a:solidFill>
                    <a:srgbClr val="B8006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4</a:t>
              </a:r>
              <a:endParaRPr lang="zh-CN" altLang="en-US" sz="2000" b="1" kern="0" dirty="0">
                <a:ln>
                  <a:gradFill>
                    <a:gsLst>
                      <a:gs pos="0">
                        <a:srgbClr val="E4401D"/>
                      </a:gs>
                      <a:gs pos="88000">
                        <a:srgbClr val="F9C235">
                          <a:alpha val="0"/>
                        </a:srgbClr>
                      </a:gs>
                    </a:gsLst>
                    <a:lin ang="5400000" scaled="1"/>
                  </a:gradFill>
                </a:ln>
                <a:solidFill>
                  <a:srgbClr val="B8006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endParaRPr>
            </a:p>
          </p:txBody>
        </p:sp>
        <p:grpSp>
          <p:nvGrpSpPr>
            <p:cNvPr id="83" name="组合 82">
              <a:extLst>
                <a:ext uri="{FF2B5EF4-FFF2-40B4-BE49-F238E27FC236}">
                  <a16:creationId xmlns:a16="http://schemas.microsoft.com/office/drawing/2014/main" id="{EB478EE1-C7FF-445B-FB70-9B0CEA3AB6C2}"/>
                </a:ext>
              </a:extLst>
            </p:cNvPr>
            <p:cNvGrpSpPr/>
            <p:nvPr/>
          </p:nvGrpSpPr>
          <p:grpSpPr>
            <a:xfrm>
              <a:off x="1224950" y="582034"/>
              <a:ext cx="9609827" cy="307777"/>
              <a:chOff x="607784" y="3385619"/>
              <a:chExt cx="10976432" cy="307777"/>
            </a:xfrm>
          </p:grpSpPr>
          <p:sp>
            <p:nvSpPr>
              <p:cNvPr id="84" name="文本框 14">
                <a:extLst>
                  <a:ext uri="{FF2B5EF4-FFF2-40B4-BE49-F238E27FC236}">
                    <a16:creationId xmlns:a16="http://schemas.microsoft.com/office/drawing/2014/main" id="{CA6161F9-96F2-4125-745A-45F482EB0981}"/>
                  </a:ext>
                </a:extLst>
              </p:cNvPr>
              <p:cNvSpPr txBox="1"/>
              <p:nvPr/>
            </p:nvSpPr>
            <p:spPr>
              <a:xfrm>
                <a:off x="5209011" y="3385619"/>
                <a:ext cx="1816317" cy="307777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zh-CN" altLang="en-US" sz="2000" b="1" kern="0" spc="300" dirty="0">
                    <a:solidFill>
                      <a:srgbClr val="B8006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创新性</a:t>
                </a:r>
                <a:r>
                  <a:rPr lang="en-US" altLang="zh-CN" sz="2000" b="1" kern="0" spc="300" dirty="0">
                    <a:solidFill>
                      <a:srgbClr val="B8006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-2/2</a:t>
                </a:r>
                <a:endParaRPr lang="en-US" altLang="zh-CN" sz="1600" b="1" kern="0" dirty="0">
                  <a:ln>
                    <a:gradFill>
                      <a:gsLst>
                        <a:gs pos="0">
                          <a:srgbClr val="E4401D"/>
                        </a:gs>
                        <a:gs pos="88000">
                          <a:srgbClr val="F9C235">
                            <a:alpha val="0"/>
                          </a:srgbClr>
                        </a:gs>
                      </a:gsLst>
                      <a:lin ang="5400000" scaled="1"/>
                    </a:gradFill>
                  </a:ln>
                  <a:solidFill>
                    <a:srgbClr val="B8006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endParaRPr>
              </a:p>
            </p:txBody>
          </p:sp>
          <p:cxnSp>
            <p:nvCxnSpPr>
              <p:cNvPr id="87" name="直接连接符 18">
                <a:extLst>
                  <a:ext uri="{FF2B5EF4-FFF2-40B4-BE49-F238E27FC236}">
                    <a16:creationId xmlns:a16="http://schemas.microsoft.com/office/drawing/2014/main" id="{5B47B8F0-DEB8-6289-2C45-6B325637D6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06916" y="3452239"/>
                <a:ext cx="3077300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3" name="直接连接符 19">
                <a:extLst>
                  <a:ext uri="{FF2B5EF4-FFF2-40B4-BE49-F238E27FC236}">
                    <a16:creationId xmlns:a16="http://schemas.microsoft.com/office/drawing/2014/main" id="{44E7913C-4B4F-7A06-DC04-E1AF858852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7784" y="3452239"/>
                <a:ext cx="2929046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E4401D"/>
                </a:solidFill>
                <a:prstDash val="solid"/>
                <a:miter lim="800000"/>
              </a:ln>
              <a:effectLst/>
            </p:spPr>
          </p:cxnSp>
        </p:grpSp>
      </p:grpSp>
      <p:sp>
        <p:nvSpPr>
          <p:cNvPr id="96" name="文本框 95">
            <a:extLst>
              <a:ext uri="{FF2B5EF4-FFF2-40B4-BE49-F238E27FC236}">
                <a16:creationId xmlns:a16="http://schemas.microsoft.com/office/drawing/2014/main" id="{693969C7-9732-614B-32FC-5F3E411E5772}"/>
              </a:ext>
            </a:extLst>
          </p:cNvPr>
          <p:cNvSpPr txBox="1"/>
          <p:nvPr/>
        </p:nvSpPr>
        <p:spPr>
          <a:xfrm>
            <a:off x="334457" y="1144129"/>
            <a:ext cx="5993294" cy="215071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000" b="1" dirty="0">
                <a:solidFill>
                  <a:prstClr val="black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创新点</a:t>
            </a:r>
            <a:r>
              <a:rPr lang="en-US" altLang="zh-CN" sz="2000" b="1" dirty="0">
                <a:solidFill>
                  <a:prstClr val="black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 </a:t>
            </a:r>
            <a:r>
              <a:rPr lang="zh-CN" altLang="en-US" sz="2000" b="1" dirty="0">
                <a:solidFill>
                  <a:prstClr val="black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（装置创新）</a:t>
            </a:r>
            <a:endParaRPr lang="en-US" altLang="zh-CN" sz="2000" b="1" dirty="0">
              <a:solidFill>
                <a:prstClr val="black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prstClr val="black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本品具有创新的</a:t>
            </a:r>
            <a:r>
              <a:rPr lang="zh-CN" altLang="en-US" sz="2400" b="1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易纳器装置</a:t>
            </a:r>
            <a:r>
              <a:rPr lang="zh-CN" altLang="en-US" dirty="0">
                <a:solidFill>
                  <a:prstClr val="black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dirty="0">
                <a:ea typeface="微软雅黑"/>
              </a:rPr>
              <a:t>具有</a:t>
            </a:r>
            <a:r>
              <a:rPr lang="zh-CN" altLang="en-US" sz="2400" b="1" dirty="0">
                <a:solidFill>
                  <a:srgbClr val="B80065"/>
                </a:solidFill>
                <a:ea typeface="微软雅黑"/>
              </a:rPr>
              <a:t>两大核心设计</a:t>
            </a:r>
            <a:r>
              <a:rPr lang="zh-CN" altLang="en-US" b="1" dirty="0">
                <a:solidFill>
                  <a:srgbClr val="B80065"/>
                </a:solidFill>
                <a:ea typeface="微软雅黑"/>
              </a:rPr>
              <a:t>：</a:t>
            </a:r>
            <a:endParaRPr lang="en-US" altLang="zh-CN" b="1" dirty="0">
              <a:solidFill>
                <a:srgbClr val="B80065"/>
              </a:solidFill>
              <a:ea typeface="微软雅黑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1" dirty="0">
                <a:solidFill>
                  <a:srgbClr val="B80065"/>
                </a:solidFill>
                <a:ea typeface="微软雅黑"/>
              </a:rPr>
              <a:t>歧管设计</a:t>
            </a:r>
            <a:r>
              <a:rPr lang="zh-CN" altLang="en-US" sz="2400" dirty="0">
                <a:ea typeface="微软雅黑"/>
              </a:rPr>
              <a:t>，</a:t>
            </a:r>
            <a:r>
              <a:rPr lang="zh-CN" altLang="en-US" dirty="0">
                <a:ea typeface="微软雅黑"/>
              </a:rPr>
              <a:t>高效递送；</a:t>
            </a:r>
            <a:endParaRPr lang="en-US" altLang="zh-CN" dirty="0">
              <a:ea typeface="微软雅黑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1" dirty="0">
                <a:solidFill>
                  <a:srgbClr val="B80065"/>
                </a:solidFill>
                <a:ea typeface="微软雅黑"/>
              </a:rPr>
              <a:t>同轴联动</a:t>
            </a:r>
            <a:r>
              <a:rPr lang="zh-CN" altLang="en-US" sz="2400" dirty="0">
                <a:ea typeface="微软雅黑"/>
              </a:rPr>
              <a:t>，</a:t>
            </a:r>
            <a:r>
              <a:rPr lang="zh-CN" altLang="en-US" dirty="0">
                <a:ea typeface="微软雅黑"/>
              </a:rPr>
              <a:t>一步激活</a:t>
            </a:r>
            <a:r>
              <a:rPr lang="zh-CN" altLang="en-US" b="1" dirty="0">
                <a:solidFill>
                  <a:srgbClr val="612166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endParaRPr lang="en-US" altLang="zh-CN" b="1" dirty="0">
              <a:solidFill>
                <a:srgbClr val="612166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08" name="灯片编号占位符 1">
            <a:extLst>
              <a:ext uri="{FF2B5EF4-FFF2-40B4-BE49-F238E27FC236}">
                <a16:creationId xmlns:a16="http://schemas.microsoft.com/office/drawing/2014/main" id="{D0F1DEF0-B81F-D06F-02D8-2075D7120DF2}"/>
              </a:ext>
            </a:extLst>
          </p:cNvPr>
          <p:cNvSpPr txBox="1">
            <a:spLocks/>
          </p:cNvSpPr>
          <p:nvPr/>
        </p:nvSpPr>
        <p:spPr>
          <a:xfrm>
            <a:off x="11077144" y="135784"/>
            <a:ext cx="110683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B757C5-390E-4F73-B9EE-AFB5DD47937F}" type="slidenum">
              <a:rPr lang="zh-CN" altLang="en-US" sz="1200" b="1" smtClean="0">
                <a:solidFill>
                  <a:prstClr val="black"/>
                </a:solidFill>
                <a:ea typeface="微软雅黑"/>
              </a:rPr>
              <a:pPr/>
              <a:t>9</a:t>
            </a:fld>
            <a:endParaRPr lang="zh-CN" altLang="en-US" sz="1200" b="1">
              <a:solidFill>
                <a:prstClr val="black"/>
              </a:solidFill>
              <a:ea typeface="微软雅黑"/>
            </a:endParaRPr>
          </a:p>
        </p:txBody>
      </p:sp>
      <p:sp>
        <p:nvSpPr>
          <p:cNvPr id="112" name="文本框 111">
            <a:extLst>
              <a:ext uri="{FF2B5EF4-FFF2-40B4-BE49-F238E27FC236}">
                <a16:creationId xmlns:a16="http://schemas.microsoft.com/office/drawing/2014/main" id="{3FE5E2B6-E07D-4916-5006-FEC0CA1047AF}"/>
              </a:ext>
            </a:extLst>
          </p:cNvPr>
          <p:cNvSpPr txBox="1"/>
          <p:nvPr/>
        </p:nvSpPr>
        <p:spPr>
          <a:xfrm>
            <a:off x="6695440" y="1144129"/>
            <a:ext cx="5162103" cy="464306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该创新带来的患者获益</a:t>
            </a:r>
            <a:endParaRPr lang="en-US" altLang="zh-CN" sz="2000" b="1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prstClr val="black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易学易用，</a:t>
            </a:r>
            <a:r>
              <a:rPr lang="zh-CN" altLang="en-US" sz="2400" b="1" dirty="0">
                <a:solidFill>
                  <a:srgbClr val="B80065"/>
                </a:solidFill>
                <a:ea typeface="微软雅黑"/>
              </a:rPr>
              <a:t>降低关键错误率</a:t>
            </a:r>
            <a:r>
              <a:rPr lang="en-US" altLang="zh-CN" sz="2400" b="1" dirty="0">
                <a:solidFill>
                  <a:srgbClr val="B80065"/>
                </a:solidFill>
                <a:ea typeface="微软雅黑"/>
              </a:rPr>
              <a:t>78%</a:t>
            </a:r>
            <a:endParaRPr lang="en-US" altLang="zh-CN" dirty="0">
              <a:solidFill>
                <a:prstClr val="black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solidFill>
                  <a:prstClr val="black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使用步骤简单，每次仅需三步；</a:t>
            </a:r>
            <a:endParaRPr lang="en-US" altLang="zh-CN" dirty="0">
              <a:solidFill>
                <a:prstClr val="black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solidFill>
                  <a:prstClr val="black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精确追踪每一喷剂量。</a:t>
            </a:r>
            <a:endParaRPr lang="en-US" altLang="zh-CN" dirty="0">
              <a:solidFill>
                <a:prstClr val="black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prstClr val="black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易纳器稳定递送</a:t>
            </a:r>
            <a:r>
              <a:rPr lang="zh-CN" altLang="en-US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en-US" altLang="zh-CN" dirty="0">
                <a:solidFill>
                  <a:srgbClr val="B8006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>
                <a:solidFill>
                  <a:srgbClr val="B80065"/>
                </a:solidFill>
                <a:ea typeface="微软雅黑"/>
              </a:rPr>
              <a:t>99.8%</a:t>
            </a:r>
            <a:r>
              <a:rPr lang="zh-CN" altLang="en-US" sz="2400" b="1" dirty="0">
                <a:solidFill>
                  <a:srgbClr val="B80065"/>
                </a:solidFill>
                <a:ea typeface="微软雅黑"/>
              </a:rPr>
              <a:t>的患者可完成有效吸入</a:t>
            </a:r>
            <a:endParaRPr lang="en-US" altLang="zh-CN" sz="2400" b="1" dirty="0">
              <a:solidFill>
                <a:srgbClr val="B80065"/>
              </a:solidFill>
              <a:ea typeface="微软雅黑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prstClr val="black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易纳器日常使用更简单，无需掌握手口协调，</a:t>
            </a:r>
            <a:r>
              <a:rPr lang="zh-CN" altLang="en-US" sz="2400" b="1" dirty="0">
                <a:solidFill>
                  <a:srgbClr val="B80065"/>
                </a:solidFill>
                <a:ea typeface="微软雅黑"/>
              </a:rPr>
              <a:t>无需预充和清洁，可避免</a:t>
            </a:r>
            <a:r>
              <a:rPr lang="en-US" altLang="zh-CN" sz="2400" b="1" dirty="0">
                <a:solidFill>
                  <a:srgbClr val="B80065"/>
                </a:solidFill>
                <a:ea typeface="微软雅黑"/>
              </a:rPr>
              <a:t>53%</a:t>
            </a:r>
            <a:r>
              <a:rPr lang="zh-CN" altLang="en-US" sz="2400" b="1" dirty="0">
                <a:solidFill>
                  <a:srgbClr val="B80065"/>
                </a:solidFill>
                <a:ea typeface="微软雅黑"/>
              </a:rPr>
              <a:t>的错误率</a:t>
            </a:r>
            <a:endParaRPr lang="en-US" altLang="zh-CN" sz="2400" b="1" dirty="0">
              <a:solidFill>
                <a:srgbClr val="B80065"/>
              </a:solidFill>
              <a:ea typeface="微软雅黑"/>
            </a:endParaRPr>
          </a:p>
        </p:txBody>
      </p:sp>
      <p:sp>
        <p:nvSpPr>
          <p:cNvPr id="113" name="箭头: 右 112">
            <a:extLst>
              <a:ext uri="{FF2B5EF4-FFF2-40B4-BE49-F238E27FC236}">
                <a16:creationId xmlns:a16="http://schemas.microsoft.com/office/drawing/2014/main" id="{00A5AE60-E156-490D-751D-E52D1274FE13}"/>
              </a:ext>
            </a:extLst>
          </p:cNvPr>
          <p:cNvSpPr/>
          <p:nvPr/>
        </p:nvSpPr>
        <p:spPr>
          <a:xfrm>
            <a:off x="6327751" y="3510435"/>
            <a:ext cx="367689" cy="857026"/>
          </a:xfrm>
          <a:prstGeom prst="rightArrow">
            <a:avLst/>
          </a:prstGeom>
          <a:solidFill>
            <a:srgbClr val="B80065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20" name="图片 119">
            <a:extLst>
              <a:ext uri="{FF2B5EF4-FFF2-40B4-BE49-F238E27FC236}">
                <a16:creationId xmlns:a16="http://schemas.microsoft.com/office/drawing/2014/main" id="{A75DAEAA-D9DF-A6C6-9CDE-9299B09FDA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014" y="3743960"/>
            <a:ext cx="6035737" cy="1668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2115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DCbc3.BhWYa39PJ.Aa_w"/>
</p:tagLst>
</file>

<file path=ppt/theme/theme1.xml><?xml version="1.0" encoding="utf-8"?>
<a:theme xmlns:a="http://schemas.openxmlformats.org/drawingml/2006/main" name="GME Livery Templat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GS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>
          <a:solidFill>
            <a:schemeClr val="bg1">
              <a:lumMod val="75000"/>
            </a:schemeClr>
          </a:solidFill>
        </a:ln>
        <a:effectLst>
          <a:outerShdw blurRad="40000" dist="23000" dir="5400000" sx="1000" sy="1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72000" tIns="72000" rIns="0" bIns="72000" numCol="1" spcCol="0" rtlCol="0" fromWordArt="0" anchor="t" anchorCtr="0" forceAA="0" compatLnSpc="1">
        <a:noAutofit/>
      </a:bodyPr>
      <a:lstStyle>
        <a:defPPr algn="l" eaLnBrk="0" hangingPunct="0">
          <a:lnSpc>
            <a:spcPct val="120000"/>
          </a:lnSpc>
          <a:buClr>
            <a:schemeClr val="bg1"/>
          </a:buClr>
          <a:defRPr sz="1200" kern="0" dirty="0" smtClean="0">
            <a:solidFill>
              <a:schemeClr val="tx1">
                <a:lumMod val="75000"/>
                <a:lumOff val="2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>
        <a:spAutoFit/>
      </a:bodyPr>
      <a:lstStyle>
        <a:defPPr>
          <a:buClr>
            <a:schemeClr val="tx1"/>
          </a:buClr>
          <a:defRPr lang="zh-CN" altLang="en-US" sz="1600" dirty="0" smtClean="0">
            <a:latin typeface="微软雅黑" panose="020B0503020204020204" pitchFamily="34" charset="-122"/>
            <a:ea typeface="微软雅黑" panose="020B0503020204020204" pitchFamily="34" charset="-122"/>
            <a:cs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3">
    <a:majorFont>
      <a:latin typeface="微软雅黑"/>
      <a:ea typeface="微软雅黑"/>
      <a:cs typeface=""/>
    </a:majorFont>
    <a:minorFont>
      <a:latin typeface="微软雅黑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d9c7396-db3b-433e-86f5-3cb62f9473f8">
      <Terms xmlns="http://schemas.microsoft.com/office/infopath/2007/PartnerControls"/>
    </lcf76f155ced4ddcb4097134ff3c332f>
    <TaxCatchAll xmlns="c05fe964-d253-4ca8-b1a1-a02c064503eb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847956FEE3857469EB1F7F4801D8168" ma:contentTypeVersion="16" ma:contentTypeDescription="Create a new document." ma:contentTypeScope="" ma:versionID="42c2e46abf5c4280b70bf4afb0757860">
  <xsd:schema xmlns:xsd="http://www.w3.org/2001/XMLSchema" xmlns:xs="http://www.w3.org/2001/XMLSchema" xmlns:p="http://schemas.microsoft.com/office/2006/metadata/properties" xmlns:ns2="1d9c7396-db3b-433e-86f5-3cb62f9473f8" xmlns:ns3="c05fe964-d253-4ca8-b1a1-a02c064503eb" targetNamespace="http://schemas.microsoft.com/office/2006/metadata/properties" ma:root="true" ma:fieldsID="7b261a938f915990dd36fce4e10a4eb2" ns2:_="" ns3:_="">
    <xsd:import namespace="1d9c7396-db3b-433e-86f5-3cb62f9473f8"/>
    <xsd:import namespace="c05fe964-d253-4ca8-b1a1-a02c064503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9c7396-db3b-433e-86f5-3cb62f9473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451d461-d530-465a-81eb-73ef42a83da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5fe964-d253-4ca8-b1a1-a02c064503eb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1a087cc-ba46-4f72-9461-78915ac880f4}" ma:internalName="TaxCatchAll" ma:showField="CatchAllData" ma:web="c05fe964-d253-4ca8-b1a1-a02c064503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728FB11-2A5B-4481-91BE-8A126A96CB9F}">
  <ds:schemaRefs>
    <ds:schemaRef ds:uri="1d9c7396-db3b-433e-86f5-3cb62f9473f8"/>
    <ds:schemaRef ds:uri="c05fe964-d253-4ca8-b1a1-a02c064503e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F97F4EF-0735-408E-82F9-F4EF9520DF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09A3603-390B-4559-A12C-B49CE315F8BB}">
  <ds:schemaRefs>
    <ds:schemaRef ds:uri="1d9c7396-db3b-433e-86f5-3cb62f9473f8"/>
    <ds:schemaRef ds:uri="c05fe964-d253-4ca8-b1a1-a02c064503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ME Livery Template</Template>
  <TotalTime>18174</TotalTime>
  <Words>1355</Words>
  <Application>Microsoft Office PowerPoint</Application>
  <PresentationFormat>宽屏</PresentationFormat>
  <Paragraphs>144</Paragraphs>
  <Slides>10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0" baseType="lpstr">
      <vt:lpstr>仿宋_GB2312</vt:lpstr>
      <vt:lpstr>宋体</vt:lpstr>
      <vt:lpstr>微软雅黑</vt:lpstr>
      <vt:lpstr>Arial</vt:lpstr>
      <vt:lpstr>Arial Rounded MT Bold</vt:lpstr>
      <vt:lpstr>Calibri</vt:lpstr>
      <vt:lpstr>Times New Roman</vt:lpstr>
      <vt:lpstr>Wingdings</vt:lpstr>
      <vt:lpstr>GME Livery Template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GlaxoSmithKli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c157305</dc:creator>
  <cp:lastModifiedBy>Chaoyun Li</cp:lastModifiedBy>
  <cp:revision>59</cp:revision>
  <dcterms:created xsi:type="dcterms:W3CDTF">2017-04-03T16:33:00Z</dcterms:created>
  <dcterms:modified xsi:type="dcterms:W3CDTF">2023-07-12T08:3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847956FEE3857469EB1F7F4801D8168</vt:lpwstr>
  </property>
  <property fmtid="{D5CDD505-2E9C-101B-9397-08002B2CF9AE}" pid="3" name="KSOProductBuildVer">
    <vt:lpwstr>2052-11.1.0.10069</vt:lpwstr>
  </property>
  <property fmtid="{D5CDD505-2E9C-101B-9397-08002B2CF9AE}" pid="4" name="MediaServiceImageTags">
    <vt:lpwstr/>
  </property>
</Properties>
</file>